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gif" ContentType="image/gif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media/image95.jpg" ContentType="image/jpg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96" r:id="rId1"/>
    <p:sldMasterId id="2147483858" r:id="rId2"/>
  </p:sldMasterIdLst>
  <p:notesMasterIdLst>
    <p:notesMasterId r:id="rId30"/>
  </p:notesMasterIdLst>
  <p:sldIdLst>
    <p:sldId id="956" r:id="rId3"/>
    <p:sldId id="1062" r:id="rId4"/>
    <p:sldId id="1075" r:id="rId5"/>
    <p:sldId id="1076" r:id="rId6"/>
    <p:sldId id="1079" r:id="rId7"/>
    <p:sldId id="1080" r:id="rId8"/>
    <p:sldId id="1078" r:id="rId9"/>
    <p:sldId id="1081" r:id="rId10"/>
    <p:sldId id="1082" r:id="rId11"/>
    <p:sldId id="1084" r:id="rId12"/>
    <p:sldId id="1068" r:id="rId13"/>
    <p:sldId id="1085" r:id="rId14"/>
    <p:sldId id="1086" r:id="rId15"/>
    <p:sldId id="1088" r:id="rId16"/>
    <p:sldId id="1087" r:id="rId17"/>
    <p:sldId id="1101" r:id="rId18"/>
    <p:sldId id="1090" r:id="rId19"/>
    <p:sldId id="1093" r:id="rId20"/>
    <p:sldId id="1094" r:id="rId21"/>
    <p:sldId id="1095" r:id="rId22"/>
    <p:sldId id="1092" r:id="rId23"/>
    <p:sldId id="1096" r:id="rId24"/>
    <p:sldId id="1097" r:id="rId25"/>
    <p:sldId id="1098" r:id="rId26"/>
    <p:sldId id="946" r:id="rId27"/>
    <p:sldId id="1099" r:id="rId28"/>
    <p:sldId id="1100" r:id="rId29"/>
  </p:sldIdLst>
  <p:sldSz cx="12192000" cy="6858000"/>
  <p:notesSz cx="6797675" cy="9872663"/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sha Aggarwal" initials="IA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F8F8"/>
    <a:srgbClr val="FFFFFF"/>
    <a:srgbClr val="284DBB"/>
    <a:srgbClr val="000000"/>
    <a:srgbClr val="1B48C4"/>
    <a:srgbClr val="3366FF"/>
    <a:srgbClr val="000066"/>
    <a:srgbClr val="2D9AA6"/>
    <a:srgbClr val="30D84F"/>
    <a:srgbClr val="46A4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659" autoAdjust="0"/>
    <p:restoredTop sz="94377" autoAdjust="0"/>
  </p:normalViewPr>
  <p:slideViewPr>
    <p:cSldViewPr snapToGrid="0">
      <p:cViewPr varScale="1">
        <p:scale>
          <a:sx n="107" d="100"/>
          <a:sy n="107" d="100"/>
        </p:scale>
        <p:origin x="848" y="16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947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2800" y="168"/>
      </p:cViewPr>
      <p:guideLst>
        <p:guide orient="horz" pos="3109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8.xml"/><Relationship Id="rId21" Type="http://schemas.openxmlformats.org/officeDocument/2006/relationships/slide" Target="slides/slide19.xml"/><Relationship Id="rId22" Type="http://schemas.openxmlformats.org/officeDocument/2006/relationships/slide" Target="slides/slide20.xml"/><Relationship Id="rId23" Type="http://schemas.openxmlformats.org/officeDocument/2006/relationships/slide" Target="slides/slide21.xml"/><Relationship Id="rId24" Type="http://schemas.openxmlformats.org/officeDocument/2006/relationships/slide" Target="slides/slide22.xml"/><Relationship Id="rId25" Type="http://schemas.openxmlformats.org/officeDocument/2006/relationships/slide" Target="slides/slide23.xml"/><Relationship Id="rId26" Type="http://schemas.openxmlformats.org/officeDocument/2006/relationships/slide" Target="slides/slide24.xml"/><Relationship Id="rId27" Type="http://schemas.openxmlformats.org/officeDocument/2006/relationships/slide" Target="slides/slide25.xml"/><Relationship Id="rId28" Type="http://schemas.openxmlformats.org/officeDocument/2006/relationships/slide" Target="slides/slide26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30" Type="http://schemas.openxmlformats.org/officeDocument/2006/relationships/notesMaster" Target="notesMasters/notesMaster1.xml"/><Relationship Id="rId31" Type="http://schemas.openxmlformats.org/officeDocument/2006/relationships/tags" Target="tags/tag1.xml"/><Relationship Id="rId32" Type="http://schemas.openxmlformats.org/officeDocument/2006/relationships/commentAuthors" Target="commentAuthors.xml"/><Relationship Id="rId9" Type="http://schemas.openxmlformats.org/officeDocument/2006/relationships/slide" Target="slides/slide7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Relationship Id="rId33" Type="http://schemas.openxmlformats.org/officeDocument/2006/relationships/presProps" Target="presProps.xml"/><Relationship Id="rId34" Type="http://schemas.openxmlformats.org/officeDocument/2006/relationships/viewProps" Target="viewProps.xml"/><Relationship Id="rId35" Type="http://schemas.openxmlformats.org/officeDocument/2006/relationships/theme" Target="theme/theme1.xml"/><Relationship Id="rId36" Type="http://schemas.openxmlformats.org/officeDocument/2006/relationships/tableStyles" Target="tableStyles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Relationship Id="rId13" Type="http://schemas.openxmlformats.org/officeDocument/2006/relationships/slide" Target="slides/slide11.xml"/><Relationship Id="rId14" Type="http://schemas.openxmlformats.org/officeDocument/2006/relationships/slide" Target="slides/slide12.xml"/><Relationship Id="rId15" Type="http://schemas.openxmlformats.org/officeDocument/2006/relationships/slide" Target="slides/slide13.xml"/><Relationship Id="rId16" Type="http://schemas.openxmlformats.org/officeDocument/2006/relationships/slide" Target="slides/slide14.xml"/><Relationship Id="rId17" Type="http://schemas.openxmlformats.org/officeDocument/2006/relationships/slide" Target="slides/slide15.xml"/><Relationship Id="rId18" Type="http://schemas.openxmlformats.org/officeDocument/2006/relationships/slide" Target="slides/slide16.xml"/><Relationship Id="rId19" Type="http://schemas.openxmlformats.org/officeDocument/2006/relationships/slide" Target="slides/slide1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1C0CF2-5B38-4512-A974-322E1817FAC0}" type="datetimeFigureOut">
              <a:rPr lang="en-US" smtClean="0"/>
              <a:t>10/28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3488"/>
            <a:ext cx="5921375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51219"/>
            <a:ext cx="5438140" cy="38873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7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7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C7A120-50F9-46BD-9B78-16C6E22562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79013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IN" altLang="en-US" dirty="0"/>
          </a:p>
        </p:txBody>
      </p:sp>
      <p:sp>
        <p:nvSpPr>
          <p:cNvPr id="1229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fld id="{D1012C7A-5D10-4B79-99AA-FA75221031C5}" type="slidenum">
              <a:rPr lang="en-IN" altLang="en-US">
                <a:latin typeface="Calibri" pitchFamily="34" charset="0"/>
              </a:rPr>
              <a:pPr/>
              <a:t>1</a:t>
            </a:fld>
            <a:endParaRPr lang="en-IN" altLang="en-US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40330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C7A120-50F9-46BD-9B78-16C6E2256263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43920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C7A120-50F9-46BD-9B78-16C6E2256263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37661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35023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C7A120-50F9-46BD-9B78-16C6E2256263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07120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C7A120-50F9-46BD-9B78-16C6E2256263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60229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C7A120-50F9-46BD-9B78-16C6E2256263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59871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IN" altLang="en-US" dirty="0"/>
          </a:p>
        </p:txBody>
      </p:sp>
      <p:sp>
        <p:nvSpPr>
          <p:cNvPr id="1229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fld id="{D1012C7A-5D10-4B79-99AA-FA75221031C5}" type="slidenum">
              <a:rPr lang="en-IN" altLang="en-US">
                <a:latin typeface="Calibri" pitchFamily="34" charset="0"/>
              </a:rPr>
              <a:pPr/>
              <a:t>25</a:t>
            </a:fld>
            <a:endParaRPr lang="en-IN" altLang="en-US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04733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8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7.emf"/><Relationship Id="rId1" Type="http://schemas.openxmlformats.org/officeDocument/2006/relationships/vmlDrawing" Target="../drawings/vmlDrawing2.vml"/><Relationship Id="rId2" Type="http://schemas.openxmlformats.org/officeDocument/2006/relationships/tags" Target="../tags/tag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0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1.jpe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2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3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4.emf"/><Relationship Id="rId1" Type="http://schemas.openxmlformats.org/officeDocument/2006/relationships/vmlDrawing" Target="../drawings/vmlDrawing3.vml"/><Relationship Id="rId2" Type="http://schemas.openxmlformats.org/officeDocument/2006/relationships/tags" Target="../tags/tag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2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4.bin"/><Relationship Id="rId6" Type="http://schemas.openxmlformats.org/officeDocument/2006/relationships/image" Target="../media/image15.emf"/><Relationship Id="rId7" Type="http://schemas.openxmlformats.org/officeDocument/2006/relationships/image" Target="../media/image16.png"/><Relationship Id="rId1" Type="http://schemas.openxmlformats.org/officeDocument/2006/relationships/vmlDrawing" Target="../drawings/vmlDrawing4.vml"/><Relationship Id="rId2" Type="http://schemas.openxmlformats.org/officeDocument/2006/relationships/tags" Target="../tags/tag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4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4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4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4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4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90E9063E-BD64-BB48-AF38-6A482292C1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9060" y="559924"/>
            <a:ext cx="1397000" cy="54424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9DEBFF03-D30A-5945-8EBE-8D5591FA80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2315" y="5885258"/>
            <a:ext cx="5820228" cy="1270000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xmlns="" id="{3A38AA8A-CB4E-5A46-80A2-884EE06830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9062" y="5243813"/>
            <a:ext cx="6289778" cy="43497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xmlns="" id="{3E1123C6-DEC0-0D41-9525-9436A7FCC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060" y="2028063"/>
            <a:ext cx="6289780" cy="2814411"/>
          </a:xfrm>
          <a:prstGeom prst="rect">
            <a:avLst/>
          </a:prstGeom>
        </p:spPr>
        <p:txBody>
          <a:bodyPr/>
          <a:lstStyle>
            <a:lvl1pPr>
              <a:defRPr sz="60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xmlns="" id="{F834F6D2-EF2F-BE48-9123-3E204FAEA5B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62186" y="490713"/>
            <a:ext cx="1849674" cy="365125"/>
          </a:xfrm>
          <a:prstGeom prst="rect">
            <a:avLst/>
          </a:prstGeom>
        </p:spPr>
        <p:txBody>
          <a:bodyPr lIns="90000"/>
          <a:lstStyle>
            <a:lvl1pPr algn="r"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879C6505-0DB4-4F42-9517-8EE46F733C69}" type="datetime3">
              <a:rPr lang="en-IN" smtClean="0"/>
              <a:pPr/>
              <a:t>28 October 2019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xmlns="" id="{B2D87880-BB7D-0540-BA4F-ED0941AE61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1799" y="6605588"/>
            <a:ext cx="2774338" cy="2801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xmlns="" id="{DDBBE3CE-FDC1-8B44-8E98-60EE718835F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28840" y="491792"/>
            <a:ext cx="4058445" cy="5848882"/>
          </a:xfrm>
          <a:custGeom>
            <a:avLst/>
            <a:gdLst>
              <a:gd name="connsiteX0" fmla="*/ 0 w 4552950"/>
              <a:gd name="connsiteY0" fmla="*/ 0 h 4260850"/>
              <a:gd name="connsiteX1" fmla="*/ 2422525 w 4552950"/>
              <a:gd name="connsiteY1" fmla="*/ 0 h 4260850"/>
              <a:gd name="connsiteX2" fmla="*/ 4552950 w 4552950"/>
              <a:gd name="connsiteY2" fmla="*/ 2130425 h 4260850"/>
              <a:gd name="connsiteX3" fmla="*/ 2422525 w 4552950"/>
              <a:gd name="connsiteY3" fmla="*/ 4260850 h 4260850"/>
              <a:gd name="connsiteX4" fmla="*/ 0 w 4552950"/>
              <a:gd name="connsiteY4" fmla="*/ 4260850 h 4260850"/>
              <a:gd name="connsiteX5" fmla="*/ 2130425 w 4552950"/>
              <a:gd name="connsiteY5" fmla="*/ 2130425 h 4260850"/>
              <a:gd name="connsiteX6" fmla="*/ 0 w 4552950"/>
              <a:gd name="connsiteY6" fmla="*/ 0 h 426085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76594"/>
              <a:gd name="connsiteY0" fmla="*/ 107950 h 4368800"/>
              <a:gd name="connsiteX1" fmla="*/ 2225675 w 4576594"/>
              <a:gd name="connsiteY1" fmla="*/ 0 h 4368800"/>
              <a:gd name="connsiteX2" fmla="*/ 3482729 w 4576594"/>
              <a:gd name="connsiteY2" fmla="*/ 1184275 h 4368800"/>
              <a:gd name="connsiteX3" fmla="*/ 4552950 w 4576594"/>
              <a:gd name="connsiteY3" fmla="*/ 2238375 h 4368800"/>
              <a:gd name="connsiteX4" fmla="*/ 2422525 w 4576594"/>
              <a:gd name="connsiteY4" fmla="*/ 4368800 h 4368800"/>
              <a:gd name="connsiteX5" fmla="*/ 0 w 4576594"/>
              <a:gd name="connsiteY5" fmla="*/ 4368800 h 4368800"/>
              <a:gd name="connsiteX6" fmla="*/ 2130425 w 4576594"/>
              <a:gd name="connsiteY6" fmla="*/ 2238375 h 4368800"/>
              <a:gd name="connsiteX7" fmla="*/ 0 w 4576594"/>
              <a:gd name="connsiteY7" fmla="*/ 107950 h 4368800"/>
              <a:gd name="connsiteX0" fmla="*/ 0 w 4574056"/>
              <a:gd name="connsiteY0" fmla="*/ 107950 h 4368800"/>
              <a:gd name="connsiteX1" fmla="*/ 2225675 w 4574056"/>
              <a:gd name="connsiteY1" fmla="*/ 0 h 4368800"/>
              <a:gd name="connsiteX2" fmla="*/ 3362079 w 4574056"/>
              <a:gd name="connsiteY2" fmla="*/ 1019175 h 4368800"/>
              <a:gd name="connsiteX3" fmla="*/ 4552950 w 4574056"/>
              <a:gd name="connsiteY3" fmla="*/ 2238375 h 4368800"/>
              <a:gd name="connsiteX4" fmla="*/ 2422525 w 4574056"/>
              <a:gd name="connsiteY4" fmla="*/ 4368800 h 4368800"/>
              <a:gd name="connsiteX5" fmla="*/ 0 w 4574056"/>
              <a:gd name="connsiteY5" fmla="*/ 4368800 h 4368800"/>
              <a:gd name="connsiteX6" fmla="*/ 2130425 w 4574056"/>
              <a:gd name="connsiteY6" fmla="*/ 2238375 h 4368800"/>
              <a:gd name="connsiteX7" fmla="*/ 0 w 4574056"/>
              <a:gd name="connsiteY7" fmla="*/ 107950 h 4368800"/>
              <a:gd name="connsiteX0" fmla="*/ 0 w 4574056"/>
              <a:gd name="connsiteY0" fmla="*/ 107950 h 4368800"/>
              <a:gd name="connsiteX1" fmla="*/ 1946029 w 4574056"/>
              <a:gd name="connsiteY1" fmla="*/ 15875 h 4368800"/>
              <a:gd name="connsiteX2" fmla="*/ 2225675 w 4574056"/>
              <a:gd name="connsiteY2" fmla="*/ 0 h 4368800"/>
              <a:gd name="connsiteX3" fmla="*/ 3362079 w 4574056"/>
              <a:gd name="connsiteY3" fmla="*/ 1019175 h 4368800"/>
              <a:gd name="connsiteX4" fmla="*/ 4552950 w 4574056"/>
              <a:gd name="connsiteY4" fmla="*/ 2238375 h 4368800"/>
              <a:gd name="connsiteX5" fmla="*/ 2422525 w 4574056"/>
              <a:gd name="connsiteY5" fmla="*/ 4368800 h 4368800"/>
              <a:gd name="connsiteX6" fmla="*/ 0 w 4574056"/>
              <a:gd name="connsiteY6" fmla="*/ 4368800 h 4368800"/>
              <a:gd name="connsiteX7" fmla="*/ 2130425 w 4574056"/>
              <a:gd name="connsiteY7" fmla="*/ 2238375 h 4368800"/>
              <a:gd name="connsiteX8" fmla="*/ 0 w 4574056"/>
              <a:gd name="connsiteY8" fmla="*/ 107950 h 4368800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3614049"/>
              <a:gd name="connsiteY0" fmla="*/ 155575 h 4416425"/>
              <a:gd name="connsiteX1" fmla="*/ 1888879 w 3614049"/>
              <a:gd name="connsiteY1" fmla="*/ 0 h 4416425"/>
              <a:gd name="connsiteX2" fmla="*/ 2225675 w 3614049"/>
              <a:gd name="connsiteY2" fmla="*/ 47625 h 4416425"/>
              <a:gd name="connsiteX3" fmla="*/ 3362079 w 3614049"/>
              <a:gd name="connsiteY3" fmla="*/ 1066800 h 4416425"/>
              <a:gd name="connsiteX4" fmla="*/ 3441700 w 3614049"/>
              <a:gd name="connsiteY4" fmla="*/ 3448050 h 4416425"/>
              <a:gd name="connsiteX5" fmla="*/ 2422525 w 3614049"/>
              <a:gd name="connsiteY5" fmla="*/ 4416425 h 4416425"/>
              <a:gd name="connsiteX6" fmla="*/ 0 w 3614049"/>
              <a:gd name="connsiteY6" fmla="*/ 4416425 h 4416425"/>
              <a:gd name="connsiteX7" fmla="*/ 2130425 w 3614049"/>
              <a:gd name="connsiteY7" fmla="*/ 2286000 h 4416425"/>
              <a:gd name="connsiteX8" fmla="*/ 0 w 3614049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2130425 w 4199688"/>
              <a:gd name="connsiteY7" fmla="*/ 228600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831975 w 4199688"/>
              <a:gd name="connsiteY7" fmla="*/ 22796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834779 w 4199688"/>
              <a:gd name="connsiteY8" fmla="*/ 16065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488829 w 4199688"/>
              <a:gd name="connsiteY8" fmla="*/ 15938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526929 w 4199688"/>
              <a:gd name="connsiteY8" fmla="*/ 21907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0 w 4199688"/>
              <a:gd name="connsiteY11" fmla="*/ 1555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476129 w 4199688"/>
              <a:gd name="connsiteY1" fmla="*/ 2794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9845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212151"/>
              <a:gd name="connsiteY0" fmla="*/ 574675 h 4416425"/>
              <a:gd name="connsiteX1" fmla="*/ 1361829 w 4212151"/>
              <a:gd name="connsiteY1" fmla="*/ 190501 h 4416425"/>
              <a:gd name="connsiteX2" fmla="*/ 1888879 w 4212151"/>
              <a:gd name="connsiteY2" fmla="*/ 0 h 4416425"/>
              <a:gd name="connsiteX3" fmla="*/ 2225675 w 4212151"/>
              <a:gd name="connsiteY3" fmla="*/ 47625 h 4416425"/>
              <a:gd name="connsiteX4" fmla="*/ 2574679 w 4212151"/>
              <a:gd name="connsiteY4" fmla="*/ 279401 h 4416425"/>
              <a:gd name="connsiteX5" fmla="*/ 3362079 w 4212151"/>
              <a:gd name="connsiteY5" fmla="*/ 1066800 h 4416425"/>
              <a:gd name="connsiteX6" fmla="*/ 3441700 w 4212151"/>
              <a:gd name="connsiteY6" fmla="*/ 3448050 h 4416425"/>
              <a:gd name="connsiteX7" fmla="*/ 2422525 w 4212151"/>
              <a:gd name="connsiteY7" fmla="*/ 4416425 h 4416425"/>
              <a:gd name="connsiteX8" fmla="*/ 0 w 4212151"/>
              <a:gd name="connsiteY8" fmla="*/ 4416425 h 4416425"/>
              <a:gd name="connsiteX9" fmla="*/ 1590675 w 4212151"/>
              <a:gd name="connsiteY9" fmla="*/ 2901950 h 4416425"/>
              <a:gd name="connsiteX10" fmla="*/ 1825379 w 4212151"/>
              <a:gd name="connsiteY10" fmla="*/ 2203451 h 4416425"/>
              <a:gd name="connsiteX11" fmla="*/ 1647579 w 4212151"/>
              <a:gd name="connsiteY11" fmla="*/ 1739901 h 4416425"/>
              <a:gd name="connsiteX12" fmla="*/ 1355479 w 4212151"/>
              <a:gd name="connsiteY12" fmla="*/ 1460501 h 4416425"/>
              <a:gd name="connsiteX13" fmla="*/ 1041400 w 4212151"/>
              <a:gd name="connsiteY13" fmla="*/ 574675 h 4416425"/>
              <a:gd name="connsiteX0" fmla="*/ 1041400 w 4003839"/>
              <a:gd name="connsiteY0" fmla="*/ 574675 h 4416425"/>
              <a:gd name="connsiteX1" fmla="*/ 1361829 w 4003839"/>
              <a:gd name="connsiteY1" fmla="*/ 190501 h 4416425"/>
              <a:gd name="connsiteX2" fmla="*/ 1888879 w 4003839"/>
              <a:gd name="connsiteY2" fmla="*/ 0 h 4416425"/>
              <a:gd name="connsiteX3" fmla="*/ 2225675 w 4003839"/>
              <a:gd name="connsiteY3" fmla="*/ 47625 h 4416425"/>
              <a:gd name="connsiteX4" fmla="*/ 2574679 w 4003839"/>
              <a:gd name="connsiteY4" fmla="*/ 279401 h 4416425"/>
              <a:gd name="connsiteX5" fmla="*/ 3362079 w 4003839"/>
              <a:gd name="connsiteY5" fmla="*/ 1066800 h 4416425"/>
              <a:gd name="connsiteX6" fmla="*/ 4003430 w 4003839"/>
              <a:gd name="connsiteY6" fmla="*/ 2870201 h 4416425"/>
              <a:gd name="connsiteX7" fmla="*/ 3441700 w 4003839"/>
              <a:gd name="connsiteY7" fmla="*/ 3448050 h 4416425"/>
              <a:gd name="connsiteX8" fmla="*/ 2422525 w 4003839"/>
              <a:gd name="connsiteY8" fmla="*/ 4416425 h 4416425"/>
              <a:gd name="connsiteX9" fmla="*/ 0 w 4003839"/>
              <a:gd name="connsiteY9" fmla="*/ 4416425 h 4416425"/>
              <a:gd name="connsiteX10" fmla="*/ 1590675 w 4003839"/>
              <a:gd name="connsiteY10" fmla="*/ 2901950 h 4416425"/>
              <a:gd name="connsiteX11" fmla="*/ 1825379 w 4003839"/>
              <a:gd name="connsiteY11" fmla="*/ 2203451 h 4416425"/>
              <a:gd name="connsiteX12" fmla="*/ 1647579 w 4003839"/>
              <a:gd name="connsiteY12" fmla="*/ 1739901 h 4416425"/>
              <a:gd name="connsiteX13" fmla="*/ 1355479 w 4003839"/>
              <a:gd name="connsiteY13" fmla="*/ 1460501 h 4416425"/>
              <a:gd name="connsiteX14" fmla="*/ 1041400 w 4003839"/>
              <a:gd name="connsiteY14" fmla="*/ 574675 h 4416425"/>
              <a:gd name="connsiteX0" fmla="*/ 1041400 w 4187841"/>
              <a:gd name="connsiteY0" fmla="*/ 574675 h 4416425"/>
              <a:gd name="connsiteX1" fmla="*/ 1361829 w 4187841"/>
              <a:gd name="connsiteY1" fmla="*/ 190501 h 4416425"/>
              <a:gd name="connsiteX2" fmla="*/ 1888879 w 4187841"/>
              <a:gd name="connsiteY2" fmla="*/ 0 h 4416425"/>
              <a:gd name="connsiteX3" fmla="*/ 2225675 w 4187841"/>
              <a:gd name="connsiteY3" fmla="*/ 47625 h 4416425"/>
              <a:gd name="connsiteX4" fmla="*/ 2574679 w 4187841"/>
              <a:gd name="connsiteY4" fmla="*/ 279401 h 4416425"/>
              <a:gd name="connsiteX5" fmla="*/ 3362079 w 4187841"/>
              <a:gd name="connsiteY5" fmla="*/ 1066800 h 4416425"/>
              <a:gd name="connsiteX6" fmla="*/ 4187580 w 4187841"/>
              <a:gd name="connsiteY6" fmla="*/ 2279651 h 4416425"/>
              <a:gd name="connsiteX7" fmla="*/ 3441700 w 4187841"/>
              <a:gd name="connsiteY7" fmla="*/ 3448050 h 4416425"/>
              <a:gd name="connsiteX8" fmla="*/ 2422525 w 4187841"/>
              <a:gd name="connsiteY8" fmla="*/ 4416425 h 4416425"/>
              <a:gd name="connsiteX9" fmla="*/ 0 w 4187841"/>
              <a:gd name="connsiteY9" fmla="*/ 4416425 h 4416425"/>
              <a:gd name="connsiteX10" fmla="*/ 1590675 w 4187841"/>
              <a:gd name="connsiteY10" fmla="*/ 2901950 h 4416425"/>
              <a:gd name="connsiteX11" fmla="*/ 1825379 w 4187841"/>
              <a:gd name="connsiteY11" fmla="*/ 2203451 h 4416425"/>
              <a:gd name="connsiteX12" fmla="*/ 1647579 w 4187841"/>
              <a:gd name="connsiteY12" fmla="*/ 1739901 h 4416425"/>
              <a:gd name="connsiteX13" fmla="*/ 1355479 w 4187841"/>
              <a:gd name="connsiteY13" fmla="*/ 1460501 h 4416425"/>
              <a:gd name="connsiteX14" fmla="*/ 1041400 w 4187841"/>
              <a:gd name="connsiteY14" fmla="*/ 574675 h 4416425"/>
              <a:gd name="connsiteX0" fmla="*/ 1041400 w 4200656"/>
              <a:gd name="connsiteY0" fmla="*/ 574675 h 4416425"/>
              <a:gd name="connsiteX1" fmla="*/ 1361829 w 4200656"/>
              <a:gd name="connsiteY1" fmla="*/ 190501 h 4416425"/>
              <a:gd name="connsiteX2" fmla="*/ 1888879 w 4200656"/>
              <a:gd name="connsiteY2" fmla="*/ 0 h 4416425"/>
              <a:gd name="connsiteX3" fmla="*/ 2225675 w 4200656"/>
              <a:gd name="connsiteY3" fmla="*/ 47625 h 4416425"/>
              <a:gd name="connsiteX4" fmla="*/ 2574679 w 4200656"/>
              <a:gd name="connsiteY4" fmla="*/ 279401 h 4416425"/>
              <a:gd name="connsiteX5" fmla="*/ 3362079 w 4200656"/>
              <a:gd name="connsiteY5" fmla="*/ 1066800 h 4416425"/>
              <a:gd name="connsiteX6" fmla="*/ 3876430 w 4200656"/>
              <a:gd name="connsiteY6" fmla="*/ 1714501 h 4416425"/>
              <a:gd name="connsiteX7" fmla="*/ 4187580 w 4200656"/>
              <a:gd name="connsiteY7" fmla="*/ 2279651 h 4416425"/>
              <a:gd name="connsiteX8" fmla="*/ 3441700 w 4200656"/>
              <a:gd name="connsiteY8" fmla="*/ 3448050 h 4416425"/>
              <a:gd name="connsiteX9" fmla="*/ 2422525 w 4200656"/>
              <a:gd name="connsiteY9" fmla="*/ 4416425 h 4416425"/>
              <a:gd name="connsiteX10" fmla="*/ 0 w 4200656"/>
              <a:gd name="connsiteY10" fmla="*/ 4416425 h 4416425"/>
              <a:gd name="connsiteX11" fmla="*/ 1590675 w 4200656"/>
              <a:gd name="connsiteY11" fmla="*/ 2901950 h 4416425"/>
              <a:gd name="connsiteX12" fmla="*/ 1825379 w 4200656"/>
              <a:gd name="connsiteY12" fmla="*/ 2203451 h 4416425"/>
              <a:gd name="connsiteX13" fmla="*/ 1647579 w 4200656"/>
              <a:gd name="connsiteY13" fmla="*/ 1739901 h 4416425"/>
              <a:gd name="connsiteX14" fmla="*/ 1355479 w 4200656"/>
              <a:gd name="connsiteY14" fmla="*/ 1460501 h 4416425"/>
              <a:gd name="connsiteX15" fmla="*/ 1041400 w 4200656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3672"/>
              <a:gd name="connsiteY0" fmla="*/ 574675 h 4416425"/>
              <a:gd name="connsiteX1" fmla="*/ 1361829 w 4203672"/>
              <a:gd name="connsiteY1" fmla="*/ 190501 h 4416425"/>
              <a:gd name="connsiteX2" fmla="*/ 1888879 w 4203672"/>
              <a:gd name="connsiteY2" fmla="*/ 0 h 4416425"/>
              <a:gd name="connsiteX3" fmla="*/ 2225675 w 4203672"/>
              <a:gd name="connsiteY3" fmla="*/ 47625 h 4416425"/>
              <a:gd name="connsiteX4" fmla="*/ 2574679 w 4203672"/>
              <a:gd name="connsiteY4" fmla="*/ 279401 h 4416425"/>
              <a:gd name="connsiteX5" fmla="*/ 3362079 w 4203672"/>
              <a:gd name="connsiteY5" fmla="*/ 1066800 h 4416425"/>
              <a:gd name="connsiteX6" fmla="*/ 3952630 w 4203672"/>
              <a:gd name="connsiteY6" fmla="*/ 1663701 h 4416425"/>
              <a:gd name="connsiteX7" fmla="*/ 4187580 w 4203672"/>
              <a:gd name="connsiteY7" fmla="*/ 2279651 h 4416425"/>
              <a:gd name="connsiteX8" fmla="*/ 3441700 w 4203672"/>
              <a:gd name="connsiteY8" fmla="*/ 3448050 h 4416425"/>
              <a:gd name="connsiteX9" fmla="*/ 2422525 w 4203672"/>
              <a:gd name="connsiteY9" fmla="*/ 4416425 h 4416425"/>
              <a:gd name="connsiteX10" fmla="*/ 0 w 4203672"/>
              <a:gd name="connsiteY10" fmla="*/ 4416425 h 4416425"/>
              <a:gd name="connsiteX11" fmla="*/ 1590675 w 4203672"/>
              <a:gd name="connsiteY11" fmla="*/ 2901950 h 4416425"/>
              <a:gd name="connsiteX12" fmla="*/ 1825379 w 4203672"/>
              <a:gd name="connsiteY12" fmla="*/ 2203451 h 4416425"/>
              <a:gd name="connsiteX13" fmla="*/ 1647579 w 4203672"/>
              <a:gd name="connsiteY13" fmla="*/ 1739901 h 4416425"/>
              <a:gd name="connsiteX14" fmla="*/ 1355479 w 4203672"/>
              <a:gd name="connsiteY14" fmla="*/ 1460501 h 4416425"/>
              <a:gd name="connsiteX15" fmla="*/ 1041400 w 4203672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441700 w 4191105"/>
              <a:gd name="connsiteY8" fmla="*/ 3448050 h 4416425"/>
              <a:gd name="connsiteX9" fmla="*/ 2422525 w 4191105"/>
              <a:gd name="connsiteY9" fmla="*/ 4416425 h 4416425"/>
              <a:gd name="connsiteX10" fmla="*/ 0 w 4191105"/>
              <a:gd name="connsiteY10" fmla="*/ 4416425 h 4416425"/>
              <a:gd name="connsiteX11" fmla="*/ 1590675 w 4191105"/>
              <a:gd name="connsiteY11" fmla="*/ 2901950 h 4416425"/>
              <a:gd name="connsiteX12" fmla="*/ 1825379 w 4191105"/>
              <a:gd name="connsiteY12" fmla="*/ 2203451 h 4416425"/>
              <a:gd name="connsiteX13" fmla="*/ 1647579 w 4191105"/>
              <a:gd name="connsiteY13" fmla="*/ 1739901 h 4416425"/>
              <a:gd name="connsiteX14" fmla="*/ 1355479 w 4191105"/>
              <a:gd name="connsiteY14" fmla="*/ 1460501 h 4416425"/>
              <a:gd name="connsiteX15" fmla="*/ 1041400 w 4191105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971680 w 4191105"/>
              <a:gd name="connsiteY8" fmla="*/ 27432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4035180 w 4191105"/>
              <a:gd name="connsiteY8" fmla="*/ 28194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838278 w 3172386"/>
              <a:gd name="connsiteY12" fmla="*/ 418465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393778 w 3172386"/>
              <a:gd name="connsiteY13" fmla="*/ 385445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996 w 3163824"/>
              <a:gd name="connsiteY0" fmla="*/ 633232 h 4575175"/>
              <a:gd name="connsiteX1" fmla="*/ 334416 w 3163824"/>
              <a:gd name="connsiteY1" fmla="*/ 190501 h 4575175"/>
              <a:gd name="connsiteX2" fmla="*/ 861466 w 3163824"/>
              <a:gd name="connsiteY2" fmla="*/ 0 h 4575175"/>
              <a:gd name="connsiteX3" fmla="*/ 1198262 w 3163824"/>
              <a:gd name="connsiteY3" fmla="*/ 47625 h 4575175"/>
              <a:gd name="connsiteX4" fmla="*/ 1547266 w 3163824"/>
              <a:gd name="connsiteY4" fmla="*/ 279401 h 4575175"/>
              <a:gd name="connsiteX5" fmla="*/ 2334666 w 3163824"/>
              <a:gd name="connsiteY5" fmla="*/ 1066800 h 4575175"/>
              <a:gd name="connsiteX6" fmla="*/ 2925217 w 3163824"/>
              <a:gd name="connsiteY6" fmla="*/ 1663701 h 4575175"/>
              <a:gd name="connsiteX7" fmla="*/ 3160167 w 3163824"/>
              <a:gd name="connsiteY7" fmla="*/ 2279651 h 4575175"/>
              <a:gd name="connsiteX8" fmla="*/ 2950617 w 3163824"/>
              <a:gd name="connsiteY8" fmla="*/ 2882901 h 4575175"/>
              <a:gd name="connsiteX9" fmla="*/ 2414287 w 3163824"/>
              <a:gd name="connsiteY9" fmla="*/ 3448050 h 4575175"/>
              <a:gd name="connsiteX10" fmla="*/ 1395112 w 3163824"/>
              <a:gd name="connsiteY10" fmla="*/ 4416425 h 4575175"/>
              <a:gd name="connsiteX11" fmla="*/ 915687 w 3163824"/>
              <a:gd name="connsiteY11" fmla="*/ 4575175 h 4575175"/>
              <a:gd name="connsiteX12" fmla="*/ 315366 w 3163824"/>
              <a:gd name="connsiteY12" fmla="*/ 4292601 h 4575175"/>
              <a:gd name="connsiteX13" fmla="*/ 67716 w 3163824"/>
              <a:gd name="connsiteY13" fmla="*/ 3822701 h 4575175"/>
              <a:gd name="connsiteX14" fmla="*/ 213766 w 3163824"/>
              <a:gd name="connsiteY14" fmla="*/ 3309938 h 4575175"/>
              <a:gd name="connsiteX15" fmla="*/ 563262 w 3163824"/>
              <a:gd name="connsiteY15" fmla="*/ 2901950 h 4575175"/>
              <a:gd name="connsiteX16" fmla="*/ 797966 w 3163824"/>
              <a:gd name="connsiteY16" fmla="*/ 2203451 h 4575175"/>
              <a:gd name="connsiteX17" fmla="*/ 620166 w 3163824"/>
              <a:gd name="connsiteY17" fmla="*/ 1739901 h 4575175"/>
              <a:gd name="connsiteX18" fmla="*/ 328066 w 3163824"/>
              <a:gd name="connsiteY18" fmla="*/ 1460501 h 4575175"/>
              <a:gd name="connsiteX19" fmla="*/ 22996 w 3163824"/>
              <a:gd name="connsiteY19" fmla="*/ 633232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597196 w 3172385"/>
              <a:gd name="connsiteY17" fmla="*/ 179395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332 w 3172169"/>
              <a:gd name="connsiteY0" fmla="*/ 606206 h 4575175"/>
              <a:gd name="connsiteX1" fmla="*/ 342761 w 3172169"/>
              <a:gd name="connsiteY1" fmla="*/ 190501 h 4575175"/>
              <a:gd name="connsiteX2" fmla="*/ 869811 w 3172169"/>
              <a:gd name="connsiteY2" fmla="*/ 0 h 4575175"/>
              <a:gd name="connsiteX3" fmla="*/ 1206607 w 3172169"/>
              <a:gd name="connsiteY3" fmla="*/ 47625 h 4575175"/>
              <a:gd name="connsiteX4" fmla="*/ 1555611 w 3172169"/>
              <a:gd name="connsiteY4" fmla="*/ 279401 h 4575175"/>
              <a:gd name="connsiteX5" fmla="*/ 2343011 w 3172169"/>
              <a:gd name="connsiteY5" fmla="*/ 1066800 h 4575175"/>
              <a:gd name="connsiteX6" fmla="*/ 2933562 w 3172169"/>
              <a:gd name="connsiteY6" fmla="*/ 1663701 h 4575175"/>
              <a:gd name="connsiteX7" fmla="*/ 3168512 w 3172169"/>
              <a:gd name="connsiteY7" fmla="*/ 2279651 h 4575175"/>
              <a:gd name="connsiteX8" fmla="*/ 2958962 w 3172169"/>
              <a:gd name="connsiteY8" fmla="*/ 2882901 h 4575175"/>
              <a:gd name="connsiteX9" fmla="*/ 2422632 w 3172169"/>
              <a:gd name="connsiteY9" fmla="*/ 3448050 h 4575175"/>
              <a:gd name="connsiteX10" fmla="*/ 1403457 w 3172169"/>
              <a:gd name="connsiteY10" fmla="*/ 4416425 h 4575175"/>
              <a:gd name="connsiteX11" fmla="*/ 924032 w 3172169"/>
              <a:gd name="connsiteY11" fmla="*/ 4575175 h 4575175"/>
              <a:gd name="connsiteX12" fmla="*/ 323711 w 3172169"/>
              <a:gd name="connsiteY12" fmla="*/ 4292601 h 4575175"/>
              <a:gd name="connsiteX13" fmla="*/ 76061 w 3172169"/>
              <a:gd name="connsiteY13" fmla="*/ 3822701 h 4575175"/>
              <a:gd name="connsiteX14" fmla="*/ 222111 w 3172169"/>
              <a:gd name="connsiteY14" fmla="*/ 3309938 h 4575175"/>
              <a:gd name="connsiteX15" fmla="*/ 571607 w 3172169"/>
              <a:gd name="connsiteY15" fmla="*/ 2901950 h 4575175"/>
              <a:gd name="connsiteX16" fmla="*/ 806311 w 3172169"/>
              <a:gd name="connsiteY16" fmla="*/ 2203451 h 4575175"/>
              <a:gd name="connsiteX17" fmla="*/ 633015 w 3172169"/>
              <a:gd name="connsiteY17" fmla="*/ 1753414 h 4575175"/>
              <a:gd name="connsiteX18" fmla="*/ 340915 w 3172169"/>
              <a:gd name="connsiteY18" fmla="*/ 1469510 h 4575175"/>
              <a:gd name="connsiteX19" fmla="*/ 22332 w 3172169"/>
              <a:gd name="connsiteY19" fmla="*/ 606206 h 4575175"/>
              <a:gd name="connsiteX0" fmla="*/ 22747 w 3172584"/>
              <a:gd name="connsiteY0" fmla="*/ 606206 h 4575175"/>
              <a:gd name="connsiteX1" fmla="*/ 343176 w 3172584"/>
              <a:gd name="connsiteY1" fmla="*/ 190501 h 4575175"/>
              <a:gd name="connsiteX2" fmla="*/ 870226 w 3172584"/>
              <a:gd name="connsiteY2" fmla="*/ 0 h 4575175"/>
              <a:gd name="connsiteX3" fmla="*/ 1207022 w 3172584"/>
              <a:gd name="connsiteY3" fmla="*/ 47625 h 4575175"/>
              <a:gd name="connsiteX4" fmla="*/ 1556026 w 3172584"/>
              <a:gd name="connsiteY4" fmla="*/ 279401 h 4575175"/>
              <a:gd name="connsiteX5" fmla="*/ 2343426 w 3172584"/>
              <a:gd name="connsiteY5" fmla="*/ 1066800 h 4575175"/>
              <a:gd name="connsiteX6" fmla="*/ 2933977 w 3172584"/>
              <a:gd name="connsiteY6" fmla="*/ 1663701 h 4575175"/>
              <a:gd name="connsiteX7" fmla="*/ 3168927 w 3172584"/>
              <a:gd name="connsiteY7" fmla="*/ 2279651 h 4575175"/>
              <a:gd name="connsiteX8" fmla="*/ 2959377 w 3172584"/>
              <a:gd name="connsiteY8" fmla="*/ 2882901 h 4575175"/>
              <a:gd name="connsiteX9" fmla="*/ 2423047 w 3172584"/>
              <a:gd name="connsiteY9" fmla="*/ 3448050 h 4575175"/>
              <a:gd name="connsiteX10" fmla="*/ 1403872 w 3172584"/>
              <a:gd name="connsiteY10" fmla="*/ 4416425 h 4575175"/>
              <a:gd name="connsiteX11" fmla="*/ 924447 w 3172584"/>
              <a:gd name="connsiteY11" fmla="*/ 4575175 h 4575175"/>
              <a:gd name="connsiteX12" fmla="*/ 324126 w 3172584"/>
              <a:gd name="connsiteY12" fmla="*/ 4292601 h 4575175"/>
              <a:gd name="connsiteX13" fmla="*/ 76476 w 3172584"/>
              <a:gd name="connsiteY13" fmla="*/ 3822701 h 4575175"/>
              <a:gd name="connsiteX14" fmla="*/ 222526 w 3172584"/>
              <a:gd name="connsiteY14" fmla="*/ 3309938 h 4575175"/>
              <a:gd name="connsiteX15" fmla="*/ 572022 w 3172584"/>
              <a:gd name="connsiteY15" fmla="*/ 2901950 h 4575175"/>
              <a:gd name="connsiteX16" fmla="*/ 806726 w 3172584"/>
              <a:gd name="connsiteY16" fmla="*/ 2203451 h 4575175"/>
              <a:gd name="connsiteX17" fmla="*/ 633430 w 3172584"/>
              <a:gd name="connsiteY17" fmla="*/ 1753414 h 4575175"/>
              <a:gd name="connsiteX18" fmla="*/ 341330 w 3172584"/>
              <a:gd name="connsiteY18" fmla="*/ 1469510 h 4575175"/>
              <a:gd name="connsiteX19" fmla="*/ 22747 w 3172584"/>
              <a:gd name="connsiteY19" fmla="*/ 606206 h 4575175"/>
              <a:gd name="connsiteX0" fmla="*/ 21541 w 3171378"/>
              <a:gd name="connsiteY0" fmla="*/ 606206 h 4575175"/>
              <a:gd name="connsiteX1" fmla="*/ 341970 w 3171378"/>
              <a:gd name="connsiteY1" fmla="*/ 190501 h 4575175"/>
              <a:gd name="connsiteX2" fmla="*/ 869020 w 3171378"/>
              <a:gd name="connsiteY2" fmla="*/ 0 h 4575175"/>
              <a:gd name="connsiteX3" fmla="*/ 1205816 w 3171378"/>
              <a:gd name="connsiteY3" fmla="*/ 47625 h 4575175"/>
              <a:gd name="connsiteX4" fmla="*/ 1554820 w 3171378"/>
              <a:gd name="connsiteY4" fmla="*/ 279401 h 4575175"/>
              <a:gd name="connsiteX5" fmla="*/ 2342220 w 3171378"/>
              <a:gd name="connsiteY5" fmla="*/ 1066800 h 4575175"/>
              <a:gd name="connsiteX6" fmla="*/ 2932771 w 3171378"/>
              <a:gd name="connsiteY6" fmla="*/ 1663701 h 4575175"/>
              <a:gd name="connsiteX7" fmla="*/ 3167721 w 3171378"/>
              <a:gd name="connsiteY7" fmla="*/ 2279651 h 4575175"/>
              <a:gd name="connsiteX8" fmla="*/ 2958171 w 3171378"/>
              <a:gd name="connsiteY8" fmla="*/ 2882901 h 4575175"/>
              <a:gd name="connsiteX9" fmla="*/ 2421841 w 3171378"/>
              <a:gd name="connsiteY9" fmla="*/ 3448050 h 4575175"/>
              <a:gd name="connsiteX10" fmla="*/ 1402666 w 3171378"/>
              <a:gd name="connsiteY10" fmla="*/ 4416425 h 4575175"/>
              <a:gd name="connsiteX11" fmla="*/ 923241 w 3171378"/>
              <a:gd name="connsiteY11" fmla="*/ 4575175 h 4575175"/>
              <a:gd name="connsiteX12" fmla="*/ 322920 w 3171378"/>
              <a:gd name="connsiteY12" fmla="*/ 4292601 h 4575175"/>
              <a:gd name="connsiteX13" fmla="*/ 75270 w 3171378"/>
              <a:gd name="connsiteY13" fmla="*/ 3822701 h 4575175"/>
              <a:gd name="connsiteX14" fmla="*/ 221320 w 3171378"/>
              <a:gd name="connsiteY14" fmla="*/ 3309938 h 4575175"/>
              <a:gd name="connsiteX15" fmla="*/ 570816 w 3171378"/>
              <a:gd name="connsiteY15" fmla="*/ 2901950 h 4575175"/>
              <a:gd name="connsiteX16" fmla="*/ 805520 w 3171378"/>
              <a:gd name="connsiteY16" fmla="*/ 2203451 h 4575175"/>
              <a:gd name="connsiteX17" fmla="*/ 632224 w 3171378"/>
              <a:gd name="connsiteY17" fmla="*/ 1753414 h 4575175"/>
              <a:gd name="connsiteX18" fmla="*/ 340124 w 3171378"/>
              <a:gd name="connsiteY18" fmla="*/ 1469510 h 4575175"/>
              <a:gd name="connsiteX19" fmla="*/ 21541 w 3171378"/>
              <a:gd name="connsiteY19" fmla="*/ 606206 h 4575175"/>
              <a:gd name="connsiteX0" fmla="*/ 7707 w 3157544"/>
              <a:gd name="connsiteY0" fmla="*/ 606206 h 4575175"/>
              <a:gd name="connsiteX1" fmla="*/ 328136 w 3157544"/>
              <a:gd name="connsiteY1" fmla="*/ 190501 h 4575175"/>
              <a:gd name="connsiteX2" fmla="*/ 855186 w 3157544"/>
              <a:gd name="connsiteY2" fmla="*/ 0 h 4575175"/>
              <a:gd name="connsiteX3" fmla="*/ 1191982 w 3157544"/>
              <a:gd name="connsiteY3" fmla="*/ 47625 h 4575175"/>
              <a:gd name="connsiteX4" fmla="*/ 1540986 w 3157544"/>
              <a:gd name="connsiteY4" fmla="*/ 279401 h 4575175"/>
              <a:gd name="connsiteX5" fmla="*/ 2328386 w 3157544"/>
              <a:gd name="connsiteY5" fmla="*/ 1066800 h 4575175"/>
              <a:gd name="connsiteX6" fmla="*/ 2918937 w 3157544"/>
              <a:gd name="connsiteY6" fmla="*/ 1663701 h 4575175"/>
              <a:gd name="connsiteX7" fmla="*/ 3153887 w 3157544"/>
              <a:gd name="connsiteY7" fmla="*/ 2279651 h 4575175"/>
              <a:gd name="connsiteX8" fmla="*/ 2944337 w 3157544"/>
              <a:gd name="connsiteY8" fmla="*/ 2882901 h 4575175"/>
              <a:gd name="connsiteX9" fmla="*/ 2408007 w 3157544"/>
              <a:gd name="connsiteY9" fmla="*/ 3448050 h 4575175"/>
              <a:gd name="connsiteX10" fmla="*/ 1388832 w 3157544"/>
              <a:gd name="connsiteY10" fmla="*/ 4416425 h 4575175"/>
              <a:gd name="connsiteX11" fmla="*/ 909407 w 3157544"/>
              <a:gd name="connsiteY11" fmla="*/ 4575175 h 4575175"/>
              <a:gd name="connsiteX12" fmla="*/ 309086 w 3157544"/>
              <a:gd name="connsiteY12" fmla="*/ 4292601 h 4575175"/>
              <a:gd name="connsiteX13" fmla="*/ 61436 w 3157544"/>
              <a:gd name="connsiteY13" fmla="*/ 3822701 h 4575175"/>
              <a:gd name="connsiteX14" fmla="*/ 207486 w 3157544"/>
              <a:gd name="connsiteY14" fmla="*/ 3309938 h 4575175"/>
              <a:gd name="connsiteX15" fmla="*/ 556982 w 3157544"/>
              <a:gd name="connsiteY15" fmla="*/ 2901950 h 4575175"/>
              <a:gd name="connsiteX16" fmla="*/ 791686 w 3157544"/>
              <a:gd name="connsiteY16" fmla="*/ 2203451 h 4575175"/>
              <a:gd name="connsiteX17" fmla="*/ 618390 w 3157544"/>
              <a:gd name="connsiteY17" fmla="*/ 1753414 h 4575175"/>
              <a:gd name="connsiteX18" fmla="*/ 326290 w 3157544"/>
              <a:gd name="connsiteY18" fmla="*/ 1469510 h 4575175"/>
              <a:gd name="connsiteX19" fmla="*/ 118243 w 3157544"/>
              <a:gd name="connsiteY19" fmla="*/ 1272964 h 4575175"/>
              <a:gd name="connsiteX20" fmla="*/ 7707 w 3157544"/>
              <a:gd name="connsiteY20" fmla="*/ 606206 h 4575175"/>
              <a:gd name="connsiteX0" fmla="*/ 7180 w 3157017"/>
              <a:gd name="connsiteY0" fmla="*/ 606206 h 4575175"/>
              <a:gd name="connsiteX1" fmla="*/ 327609 w 3157017"/>
              <a:gd name="connsiteY1" fmla="*/ 190501 h 4575175"/>
              <a:gd name="connsiteX2" fmla="*/ 854659 w 3157017"/>
              <a:gd name="connsiteY2" fmla="*/ 0 h 4575175"/>
              <a:gd name="connsiteX3" fmla="*/ 1191455 w 3157017"/>
              <a:gd name="connsiteY3" fmla="*/ 47625 h 4575175"/>
              <a:gd name="connsiteX4" fmla="*/ 1540459 w 3157017"/>
              <a:gd name="connsiteY4" fmla="*/ 279401 h 4575175"/>
              <a:gd name="connsiteX5" fmla="*/ 2327859 w 3157017"/>
              <a:gd name="connsiteY5" fmla="*/ 1066800 h 4575175"/>
              <a:gd name="connsiteX6" fmla="*/ 2918410 w 3157017"/>
              <a:gd name="connsiteY6" fmla="*/ 1663701 h 4575175"/>
              <a:gd name="connsiteX7" fmla="*/ 3153360 w 3157017"/>
              <a:gd name="connsiteY7" fmla="*/ 2279651 h 4575175"/>
              <a:gd name="connsiteX8" fmla="*/ 2943810 w 3157017"/>
              <a:gd name="connsiteY8" fmla="*/ 2882901 h 4575175"/>
              <a:gd name="connsiteX9" fmla="*/ 2407480 w 3157017"/>
              <a:gd name="connsiteY9" fmla="*/ 3448050 h 4575175"/>
              <a:gd name="connsiteX10" fmla="*/ 1388305 w 3157017"/>
              <a:gd name="connsiteY10" fmla="*/ 4416425 h 4575175"/>
              <a:gd name="connsiteX11" fmla="*/ 908880 w 3157017"/>
              <a:gd name="connsiteY11" fmla="*/ 4575175 h 4575175"/>
              <a:gd name="connsiteX12" fmla="*/ 308559 w 3157017"/>
              <a:gd name="connsiteY12" fmla="*/ 4292601 h 4575175"/>
              <a:gd name="connsiteX13" fmla="*/ 60909 w 3157017"/>
              <a:gd name="connsiteY13" fmla="*/ 3822701 h 4575175"/>
              <a:gd name="connsiteX14" fmla="*/ 206959 w 3157017"/>
              <a:gd name="connsiteY14" fmla="*/ 3309938 h 4575175"/>
              <a:gd name="connsiteX15" fmla="*/ 556455 w 3157017"/>
              <a:gd name="connsiteY15" fmla="*/ 2901950 h 4575175"/>
              <a:gd name="connsiteX16" fmla="*/ 791159 w 3157017"/>
              <a:gd name="connsiteY16" fmla="*/ 2203451 h 4575175"/>
              <a:gd name="connsiteX17" fmla="*/ 617863 w 3157017"/>
              <a:gd name="connsiteY17" fmla="*/ 1753414 h 4575175"/>
              <a:gd name="connsiteX18" fmla="*/ 325763 w 3157017"/>
              <a:gd name="connsiteY18" fmla="*/ 1469510 h 4575175"/>
              <a:gd name="connsiteX19" fmla="*/ 126725 w 3157017"/>
              <a:gd name="connsiteY19" fmla="*/ 1245938 h 4575175"/>
              <a:gd name="connsiteX20" fmla="*/ 7180 w 3157017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20915 w 3174640"/>
              <a:gd name="connsiteY16" fmla="*/ 2583755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3174640" h="4575175">
                <a:moveTo>
                  <a:pt x="24803" y="606206"/>
                </a:moveTo>
                <a:cubicBezTo>
                  <a:pt x="125263" y="342139"/>
                  <a:pt x="225722" y="286809"/>
                  <a:pt x="345232" y="190501"/>
                </a:cubicBezTo>
                <a:cubicBezTo>
                  <a:pt x="609815" y="6351"/>
                  <a:pt x="747399" y="19050"/>
                  <a:pt x="872282" y="0"/>
                </a:cubicBezTo>
                <a:cubicBezTo>
                  <a:pt x="1009947" y="3175"/>
                  <a:pt x="1103163" y="6350"/>
                  <a:pt x="1209078" y="47625"/>
                </a:cubicBezTo>
                <a:cubicBezTo>
                  <a:pt x="1323378" y="97367"/>
                  <a:pt x="1368681" y="109539"/>
                  <a:pt x="1558082" y="279401"/>
                </a:cubicBezTo>
                <a:cubicBezTo>
                  <a:pt x="1664933" y="385763"/>
                  <a:pt x="2023179" y="738717"/>
                  <a:pt x="2345482" y="1066800"/>
                </a:cubicBezTo>
                <a:cubicBezTo>
                  <a:pt x="2562441" y="1305983"/>
                  <a:pt x="2792100" y="1499659"/>
                  <a:pt x="2936033" y="1663701"/>
                </a:cubicBezTo>
                <a:cubicBezTo>
                  <a:pt x="3060916" y="1821393"/>
                  <a:pt x="3198988" y="1990726"/>
                  <a:pt x="3170983" y="2279651"/>
                </a:cubicBezTo>
                <a:cubicBezTo>
                  <a:pt x="3174158" y="2459568"/>
                  <a:pt x="3130196" y="2656418"/>
                  <a:pt x="2961433" y="2882901"/>
                </a:cubicBezTo>
                <a:cubicBezTo>
                  <a:pt x="2779970" y="3083984"/>
                  <a:pt x="2683296" y="3169179"/>
                  <a:pt x="2425103" y="3448050"/>
                </a:cubicBezTo>
                <a:cubicBezTo>
                  <a:pt x="2085378" y="3770842"/>
                  <a:pt x="1577456" y="4305248"/>
                  <a:pt x="1423945" y="4416425"/>
                </a:cubicBezTo>
                <a:cubicBezTo>
                  <a:pt x="1264137" y="4513792"/>
                  <a:pt x="1117091" y="4570994"/>
                  <a:pt x="926503" y="4575175"/>
                </a:cubicBezTo>
                <a:cubicBezTo>
                  <a:pt x="760586" y="4565974"/>
                  <a:pt x="551689" y="4513792"/>
                  <a:pt x="326182" y="4292601"/>
                </a:cubicBezTo>
                <a:cubicBezTo>
                  <a:pt x="224582" y="4167718"/>
                  <a:pt x="95142" y="3979991"/>
                  <a:pt x="87541" y="3831710"/>
                </a:cubicBezTo>
                <a:cubicBezTo>
                  <a:pt x="74028" y="3613139"/>
                  <a:pt x="142032" y="3466042"/>
                  <a:pt x="224582" y="3309938"/>
                </a:cubicBezTo>
                <a:cubicBezTo>
                  <a:pt x="366481" y="3129492"/>
                  <a:pt x="387729" y="3095096"/>
                  <a:pt x="574078" y="2901950"/>
                </a:cubicBezTo>
                <a:cubicBezTo>
                  <a:pt x="656800" y="2780920"/>
                  <a:pt x="692307" y="2737709"/>
                  <a:pt x="747941" y="2592764"/>
                </a:cubicBezTo>
                <a:cubicBezTo>
                  <a:pt x="772043" y="2492863"/>
                  <a:pt x="805002" y="2386884"/>
                  <a:pt x="799773" y="2221468"/>
                </a:cubicBezTo>
                <a:cubicBezTo>
                  <a:pt x="779744" y="1998341"/>
                  <a:pt x="738660" y="1938002"/>
                  <a:pt x="635486" y="1753414"/>
                </a:cubicBezTo>
                <a:cubicBezTo>
                  <a:pt x="563645" y="1664785"/>
                  <a:pt x="442254" y="1567148"/>
                  <a:pt x="343386" y="1469510"/>
                </a:cubicBezTo>
                <a:cubicBezTo>
                  <a:pt x="260028" y="1389435"/>
                  <a:pt x="251498" y="1394326"/>
                  <a:pt x="144348" y="1245938"/>
                </a:cubicBezTo>
                <a:cubicBezTo>
                  <a:pt x="-34873" y="1025479"/>
                  <a:pt x="-10179" y="786616"/>
                  <a:pt x="24803" y="606206"/>
                </a:cubicBezTo>
                <a:close/>
              </a:path>
            </a:pathLst>
          </a:custGeom>
          <a:solidFill>
            <a:schemeClr val="bg1">
              <a:lumMod val="50000"/>
              <a:alpha val="73000"/>
            </a:schemeClr>
          </a:solidFill>
          <a:effectLst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4363760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11">
            <a:extLst>
              <a:ext uri="{FF2B5EF4-FFF2-40B4-BE49-F238E27FC236}">
                <a16:creationId xmlns:a16="http://schemas.microsoft.com/office/drawing/2014/main" xmlns="" id="{EFEE61D0-22FD-F144-9C72-2BF46C79D28F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xmlns="" id="{62C6BBF0-7BBA-4B4D-A30C-4B11EF13D8FB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xmlns="" id="{1A4630F0-C9FC-AE42-A7D6-C7006ED0963F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xmlns="" id="{B4EC4B4C-D11E-EA4F-9B19-1BAAA5399636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xmlns="" id="{3B052DFF-E61F-1E45-8C89-CC54A6F29C95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xmlns="" id="{1E4BBF58-ED40-9546-82AA-F2152073AF8E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94FC568B-2F3D-DE4C-A657-7F982D14B407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Text color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xmlns="" id="{E2461216-0A32-494A-8AEE-F1744A2C2977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3B462CF0-BAC6-924C-92D2-9F0777401529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Brand color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D81AA3AE-229E-FB45-B815-22EFA3FA1EF0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mplimentary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lors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xmlns="" id="{85A08613-DB98-8748-B9E4-4B3F245C6BBB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45751" cy="225709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xmlns="" id="{855F79A0-567B-A849-A947-8A09296B29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1799" y="6605588"/>
            <a:ext cx="2774338" cy="2801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1588367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val 12">
            <a:extLst>
              <a:ext uri="{FF2B5EF4-FFF2-40B4-BE49-F238E27FC236}">
                <a16:creationId xmlns:a16="http://schemas.microsoft.com/office/drawing/2014/main" xmlns="" id="{4B6B078F-6B5B-4649-88CA-4457B64650BC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xmlns="" id="{5AEDA168-4692-CA42-BBA4-95BEA61E2029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xmlns="" id="{01B1B357-5070-E64B-B2AB-C7A6C8B0EA88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xmlns="" id="{37CDEDFB-DE1D-2548-81F8-5F67B8B5B0A4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xmlns="" id="{EB120519-01C4-DF4A-9C1A-EF81D2EAD132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xmlns="" id="{1C268B67-8824-404D-90A8-5FC453F23DD8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9C99406D-50EC-C74A-BE89-235970598E07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Text color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xmlns="" id="{168DB5F2-1918-AD47-B02B-3F1311BB9011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A97B3ABF-B225-9240-BE8E-E95B0968FFBD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Brand color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49B81795-551B-B14E-B662-85CFEDDA1217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mplimentary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lors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xmlns="" id="{22F86A84-7A97-CB4F-A201-A6175D151B49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45751" cy="225709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xmlns="" id="{CE0893C3-D2C2-EF40-9EEA-7C9E376E5D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1799" y="6605588"/>
            <a:ext cx="2774338" cy="2801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463DADCE-D593-2B4C-ACB9-3FC9C22734E1}"/>
              </a:ext>
            </a:extLst>
          </p:cNvPr>
          <p:cNvGrpSpPr/>
          <p:nvPr userDrawn="1"/>
        </p:nvGrpSpPr>
        <p:grpSpPr>
          <a:xfrm>
            <a:off x="3215678" y="2940163"/>
            <a:ext cx="4999327" cy="875744"/>
            <a:chOff x="3242838" y="3018288"/>
            <a:chExt cx="4999327" cy="875744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xmlns="" id="{CDC84A69-80E3-194A-AEB4-140592EB208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42838" y="3018288"/>
              <a:ext cx="2247900" cy="875744"/>
            </a:xfrm>
            <a:prstGeom prst="rect">
              <a:avLst/>
            </a:prstGeom>
          </p:spPr>
        </p:pic>
        <p:sp>
          <p:nvSpPr>
            <p:cNvPr id="2" name="TextBox 1">
              <a:extLst>
                <a:ext uri="{FF2B5EF4-FFF2-40B4-BE49-F238E27FC236}">
                  <a16:creationId xmlns:a16="http://schemas.microsoft.com/office/drawing/2014/main" xmlns="" id="{484A5E78-5DD6-3141-ACA9-462B3D026C09}"/>
                </a:ext>
              </a:extLst>
            </p:cNvPr>
            <p:cNvSpPr txBox="1"/>
            <p:nvPr userDrawn="1"/>
          </p:nvSpPr>
          <p:spPr>
            <a:xfrm>
              <a:off x="6170125" y="3192211"/>
              <a:ext cx="2072040" cy="40010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IN" sz="2000" b="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Calibri"/>
                </a:rPr>
                <a:t>beyond tomorrow</a:t>
              </a:r>
              <a:endParaRPr kumimoji="0" lang="en-US" sz="20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/>
              </a:endParaRPr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xmlns="" id="{0CCB8ED5-85E8-6D42-BE05-EF3E861F038E}"/>
                </a:ext>
              </a:extLst>
            </p:cNvPr>
            <p:cNvCxnSpPr/>
            <p:nvPr userDrawn="1"/>
          </p:nvCxnSpPr>
          <p:spPr>
            <a:xfrm>
              <a:off x="5830431" y="3018288"/>
              <a:ext cx="0" cy="875744"/>
            </a:xfrm>
            <a:prstGeom prst="line">
              <a:avLst/>
            </a:prstGeom>
            <a:noFill/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</p:spTree>
    <p:extLst>
      <p:ext uri="{BB962C8B-B14F-4D97-AF65-F5344CB8AC3E}">
        <p14:creationId xmlns:p14="http://schemas.microsoft.com/office/powerpoint/2010/main" val="1936549460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-12700"/>
            <a:ext cx="12201525" cy="687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00019962"/>
      </p:ext>
    </p:extLst>
  </p:cSld>
  <p:clrMapOvr>
    <a:masterClrMapping/>
  </p:clrMapOvr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5" y="0"/>
            <a:ext cx="121856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5765800" y="2973388"/>
            <a:ext cx="5994400" cy="911225"/>
          </a:xfrm>
        </p:spPr>
        <p:txBody>
          <a:bodyPr/>
          <a:lstStyle/>
          <a:p>
            <a:r>
              <a:rPr lang="en-US" altLang="en-US" smtClean="0"/>
              <a:t>Click to edit Master title style</a:t>
            </a: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54168519"/>
      </p:ext>
    </p:extLst>
  </p:cSld>
  <p:clrMapOvr>
    <a:masterClrMapping/>
  </p:clrMapOvr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56CFF46-BD2B-9B43-89F7-ECE832BB7870}"/>
              </a:ext>
            </a:extLst>
          </p:cNvPr>
          <p:cNvSpPr/>
          <p:nvPr/>
        </p:nvSpPr>
        <p:spPr>
          <a:xfrm>
            <a:off x="0" y="0"/>
            <a:ext cx="12192000" cy="1409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99044437"/>
      </p:ext>
    </p:extLst>
  </p:cSld>
  <p:clrMapOvr>
    <a:masterClrMapping/>
  </p:clrMapOvr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176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424" y="1298961"/>
            <a:ext cx="11357472" cy="4725602"/>
          </a:xfrm>
        </p:spPr>
        <p:txBody>
          <a:bodyPr/>
          <a:lstStyle>
            <a:lvl2pPr>
              <a:defRPr>
                <a:solidFill>
                  <a:srgbClr val="7D8184"/>
                </a:solidFill>
              </a:defRPr>
            </a:lvl2pPr>
            <a:lvl3pPr>
              <a:defRPr>
                <a:solidFill>
                  <a:srgbClr val="7D8184"/>
                </a:solidFill>
              </a:defRPr>
            </a:lvl3pPr>
            <a:lvl4pPr>
              <a:defRPr>
                <a:solidFill>
                  <a:srgbClr val="7D8184"/>
                </a:solidFill>
              </a:defRPr>
            </a:lvl4pPr>
            <a:lvl5pPr>
              <a:defRPr>
                <a:solidFill>
                  <a:srgbClr val="7D8184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1952565"/>
      </p:ext>
    </p:extLst>
  </p:cSld>
  <p:clrMapOvr>
    <a:masterClrMapping/>
  </p:clrMapOvr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C1B52D-7485-264C-B4F3-6A96EBB94E64}" type="datetime3">
              <a:rPr kumimoji="0" lang="en-IN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 October 2019</a:t>
            </a:fld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Copyright © 2018 Sterlite Tech.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en-IN" sz="1200" b="0" i="0" u="none" strike="noStrike" kern="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itchFamily="34" charset="0"/>
              <a:ea typeface="+mn-ea"/>
              <a:cs typeface="+mn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70804153"/>
      </p:ext>
    </p:extLst>
  </p:cSld>
  <p:clrMapOvr>
    <a:masterClrMapping/>
  </p:clrMapOvr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7"/>
          <p:cNvGrpSpPr>
            <a:grpSpLocks/>
          </p:cNvGrpSpPr>
          <p:nvPr/>
        </p:nvGrpSpPr>
        <p:grpSpPr bwMode="auto">
          <a:xfrm>
            <a:off x="3116263" y="1454150"/>
            <a:ext cx="87312" cy="993775"/>
            <a:chOff x="3244345" y="2066994"/>
            <a:chExt cx="86400" cy="993600"/>
          </a:xfrm>
        </p:grpSpPr>
        <p:sp>
          <p:nvSpPr>
            <p:cNvPr id="10" name="Rectangle 9"/>
            <p:cNvSpPr/>
            <p:nvPr/>
          </p:nvSpPr>
          <p:spPr>
            <a:xfrm>
              <a:off x="3276745" y="2110194"/>
              <a:ext cx="21600" cy="864000"/>
            </a:xfrm>
            <a:prstGeom prst="rect">
              <a:avLst/>
            </a:prstGeom>
            <a:gradFill>
              <a:gsLst>
                <a:gs pos="97345">
                  <a:srgbClr val="0166B2"/>
                </a:gs>
                <a:gs pos="0">
                  <a:srgbClr val="92D050"/>
                </a:gs>
                <a:gs pos="44000">
                  <a:srgbClr val="009ADE"/>
                </a:gs>
              </a:gsLst>
              <a:path path="circle">
                <a:fillToRect l="100000" t="10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11" name="Oval 10"/>
            <p:cNvSpPr/>
            <p:nvPr/>
          </p:nvSpPr>
          <p:spPr>
            <a:xfrm>
              <a:off x="3244345" y="2066994"/>
              <a:ext cx="86400" cy="85710"/>
            </a:xfrm>
            <a:prstGeom prst="ellipse">
              <a:avLst/>
            </a:prstGeom>
            <a:solidFill>
              <a:srgbClr val="0066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12" name="Oval 11"/>
            <p:cNvSpPr/>
            <p:nvPr/>
          </p:nvSpPr>
          <p:spPr>
            <a:xfrm>
              <a:off x="3244345" y="2974884"/>
              <a:ext cx="86400" cy="85710"/>
            </a:xfrm>
            <a:prstGeom prst="ellipse">
              <a:avLst/>
            </a:prstGeom>
            <a:solidFill>
              <a:srgbClr val="0066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</p:grpSp>
      <p:grpSp>
        <p:nvGrpSpPr>
          <p:cNvPr id="13" name="Group 11"/>
          <p:cNvGrpSpPr>
            <a:grpSpLocks/>
          </p:cNvGrpSpPr>
          <p:nvPr/>
        </p:nvGrpSpPr>
        <p:grpSpPr bwMode="auto">
          <a:xfrm>
            <a:off x="3116263" y="2925763"/>
            <a:ext cx="87312" cy="993775"/>
            <a:chOff x="3244345" y="2066994"/>
            <a:chExt cx="86400" cy="993600"/>
          </a:xfrm>
        </p:grpSpPr>
        <p:sp>
          <p:nvSpPr>
            <p:cNvPr id="14" name="Rectangle 13"/>
            <p:cNvSpPr/>
            <p:nvPr/>
          </p:nvSpPr>
          <p:spPr>
            <a:xfrm>
              <a:off x="3276745" y="2110194"/>
              <a:ext cx="21600" cy="864000"/>
            </a:xfrm>
            <a:prstGeom prst="rect">
              <a:avLst/>
            </a:prstGeom>
            <a:gradFill>
              <a:gsLst>
                <a:gs pos="97345">
                  <a:srgbClr val="0166B2"/>
                </a:gs>
                <a:gs pos="0">
                  <a:srgbClr val="92D050"/>
                </a:gs>
                <a:gs pos="44000">
                  <a:srgbClr val="009ADE"/>
                </a:gs>
              </a:gsLst>
              <a:path path="circle">
                <a:fillToRect l="100000" t="10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15" name="Oval 14"/>
            <p:cNvSpPr/>
            <p:nvPr/>
          </p:nvSpPr>
          <p:spPr>
            <a:xfrm>
              <a:off x="3244345" y="2066994"/>
              <a:ext cx="86400" cy="85710"/>
            </a:xfrm>
            <a:prstGeom prst="ellipse">
              <a:avLst/>
            </a:prstGeom>
            <a:solidFill>
              <a:srgbClr val="0066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3244345" y="2974884"/>
              <a:ext cx="86400" cy="85710"/>
            </a:xfrm>
            <a:prstGeom prst="ellipse">
              <a:avLst/>
            </a:prstGeom>
            <a:solidFill>
              <a:srgbClr val="0066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</p:grpSp>
      <p:grpSp>
        <p:nvGrpSpPr>
          <p:cNvPr id="17" name="Group 15"/>
          <p:cNvGrpSpPr>
            <a:grpSpLocks/>
          </p:cNvGrpSpPr>
          <p:nvPr/>
        </p:nvGrpSpPr>
        <p:grpSpPr bwMode="auto">
          <a:xfrm>
            <a:off x="3116263" y="4395788"/>
            <a:ext cx="87312" cy="992187"/>
            <a:chOff x="3244345" y="2066994"/>
            <a:chExt cx="86400" cy="993600"/>
          </a:xfrm>
        </p:grpSpPr>
        <p:sp>
          <p:nvSpPr>
            <p:cNvPr id="18" name="Rectangle 17"/>
            <p:cNvSpPr/>
            <p:nvPr/>
          </p:nvSpPr>
          <p:spPr>
            <a:xfrm>
              <a:off x="3276745" y="2110194"/>
              <a:ext cx="21600" cy="864000"/>
            </a:xfrm>
            <a:prstGeom prst="rect">
              <a:avLst/>
            </a:prstGeom>
            <a:gradFill>
              <a:gsLst>
                <a:gs pos="97345">
                  <a:srgbClr val="0166B2"/>
                </a:gs>
                <a:gs pos="0">
                  <a:srgbClr val="92D050"/>
                </a:gs>
                <a:gs pos="44000">
                  <a:srgbClr val="009ADE"/>
                </a:gs>
              </a:gsLst>
              <a:path path="circle">
                <a:fillToRect l="100000" t="10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19" name="Oval 18"/>
            <p:cNvSpPr/>
            <p:nvPr/>
          </p:nvSpPr>
          <p:spPr>
            <a:xfrm>
              <a:off x="3244345" y="2066994"/>
              <a:ext cx="86400" cy="85847"/>
            </a:xfrm>
            <a:prstGeom prst="ellipse">
              <a:avLst/>
            </a:prstGeom>
            <a:solidFill>
              <a:srgbClr val="0066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20" name="Oval 19"/>
            <p:cNvSpPr/>
            <p:nvPr/>
          </p:nvSpPr>
          <p:spPr>
            <a:xfrm>
              <a:off x="3244345" y="2974747"/>
              <a:ext cx="86400" cy="85847"/>
            </a:xfrm>
            <a:prstGeom prst="ellipse">
              <a:avLst/>
            </a:prstGeom>
            <a:solidFill>
              <a:srgbClr val="0066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</p:grp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260" y="179462"/>
            <a:ext cx="6553200" cy="671943"/>
          </a:xfrm>
        </p:spPr>
        <p:txBody>
          <a:bodyPr/>
          <a:lstStyle/>
          <a:p>
            <a:r>
              <a:rPr lang="en-US" altLang="en-US" smtClean="0"/>
              <a:t>Click to edit Master title style</a:t>
            </a:r>
            <a:endParaRPr lang="en-IN" altLang="en-US" dirty="0"/>
          </a:p>
        </p:txBody>
      </p:sp>
      <p:sp>
        <p:nvSpPr>
          <p:cNvPr id="49" name="Content Placeholder 5"/>
          <p:cNvSpPr>
            <a:spLocks noGrp="1"/>
          </p:cNvSpPr>
          <p:nvPr>
            <p:ph sz="half" idx="4294967295"/>
          </p:nvPr>
        </p:nvSpPr>
        <p:spPr>
          <a:xfrm>
            <a:off x="478968" y="2893078"/>
            <a:ext cx="2260600" cy="106045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Content Placeholder 6"/>
          <p:cNvSpPr>
            <a:spLocks noGrp="1"/>
          </p:cNvSpPr>
          <p:nvPr>
            <p:ph sz="half" idx="4294967295"/>
          </p:nvPr>
        </p:nvSpPr>
        <p:spPr>
          <a:xfrm>
            <a:off x="478968" y="4410277"/>
            <a:ext cx="2260600" cy="10033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1" name="Content Placeholder 7"/>
          <p:cNvSpPr>
            <a:spLocks noGrp="1"/>
          </p:cNvSpPr>
          <p:nvPr>
            <p:ph sz="half" idx="4294967295"/>
          </p:nvPr>
        </p:nvSpPr>
        <p:spPr>
          <a:xfrm>
            <a:off x="3526968" y="1416703"/>
            <a:ext cx="5676900" cy="10033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2" name="Content Placeholder 8"/>
          <p:cNvSpPr>
            <a:spLocks noGrp="1"/>
          </p:cNvSpPr>
          <p:nvPr>
            <p:ph sz="half" idx="4294967295"/>
          </p:nvPr>
        </p:nvSpPr>
        <p:spPr>
          <a:xfrm>
            <a:off x="3526968" y="2893078"/>
            <a:ext cx="5676900" cy="10604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3" name="Content Placeholder 9"/>
          <p:cNvSpPr>
            <a:spLocks noGrp="1"/>
          </p:cNvSpPr>
          <p:nvPr>
            <p:ph sz="half" idx="4294967295"/>
          </p:nvPr>
        </p:nvSpPr>
        <p:spPr>
          <a:xfrm>
            <a:off x="3526968" y="4410277"/>
            <a:ext cx="5676900" cy="10033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4" name="Content Placeholder 4"/>
          <p:cNvSpPr>
            <a:spLocks noGrp="1"/>
          </p:cNvSpPr>
          <p:nvPr>
            <p:ph sz="half" idx="4294967295"/>
          </p:nvPr>
        </p:nvSpPr>
        <p:spPr>
          <a:xfrm>
            <a:off x="478968" y="1416703"/>
            <a:ext cx="2260600" cy="10033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6734029"/>
      </p:ext>
    </p:extLst>
  </p:cSld>
  <p:clrMapOvr>
    <a:masterClrMapping/>
  </p:clrMapOvr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87E4B6E5-EE3A-7F46-9F36-FE6B5F11D0C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4" name="Rectangle">
            <a:extLst>
              <a:ext uri="{FF2B5EF4-FFF2-40B4-BE49-F238E27FC236}">
                <a16:creationId xmlns:a16="http://schemas.microsoft.com/office/drawing/2014/main" xmlns="" id="{25FDC765-2E7A-4E42-B918-97CF2EEC4F09}"/>
              </a:ext>
            </a:extLst>
          </p:cNvPr>
          <p:cNvSpPr/>
          <p:nvPr/>
        </p:nvSpPr>
        <p:spPr>
          <a:xfrm>
            <a:off x="-2438" y="0"/>
            <a:ext cx="12198096" cy="6858000"/>
          </a:xfrm>
          <a:prstGeom prst="rect">
            <a:avLst/>
          </a:prstGeom>
          <a:gradFill>
            <a:gsLst>
              <a:gs pos="0">
                <a:srgbClr val="0D29B3">
                  <a:alpha val="89412"/>
                </a:srgbClr>
              </a:gs>
              <a:gs pos="100000">
                <a:srgbClr val="18D521">
                  <a:alpha val="89412"/>
                </a:srgbClr>
              </a:gs>
            </a:gsLst>
            <a:lin ang="2413842"/>
          </a:gra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algn="l" defTabSz="8255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kumimoji="0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96427671"/>
      </p:ext>
    </p:extLst>
  </p:cSld>
  <p:clrMapOvr>
    <a:masterClrMapping/>
  </p:clrMapOvr>
  <p:hf hd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87E4B6E5-EE3A-7F46-9F36-FE6B5F11D0C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pic>
        <p:nvPicPr>
          <p:cNvPr id="5" name="shutterstock_380731009.jpg" descr="shutterstock_380731009.jpg">
            <a:extLst>
              <a:ext uri="{FF2B5EF4-FFF2-40B4-BE49-F238E27FC236}">
                <a16:creationId xmlns:a16="http://schemas.microsoft.com/office/drawing/2014/main" xmlns="" id="{1B7E99FF-DDF0-D841-B896-5A6DEB6C94E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23704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799" y="-18037"/>
            <a:ext cx="4689602" cy="6894074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Rectangle">
            <a:extLst>
              <a:ext uri="{FF2B5EF4-FFF2-40B4-BE49-F238E27FC236}">
                <a16:creationId xmlns:a16="http://schemas.microsoft.com/office/drawing/2014/main" xmlns="" id="{3B96A8AD-D4B5-254B-9938-563921E4A20E}"/>
              </a:ext>
            </a:extLst>
          </p:cNvPr>
          <p:cNvSpPr/>
          <p:nvPr/>
        </p:nvSpPr>
        <p:spPr>
          <a:xfrm>
            <a:off x="0" y="-21010"/>
            <a:ext cx="4687803" cy="6900020"/>
          </a:xfrm>
          <a:prstGeom prst="rect">
            <a:avLst/>
          </a:prstGeom>
          <a:gradFill>
            <a:gsLst>
              <a:gs pos="0">
                <a:srgbClr val="0D29B3">
                  <a:alpha val="82747"/>
                </a:srgbClr>
              </a:gs>
              <a:gs pos="100000">
                <a:srgbClr val="18D521">
                  <a:alpha val="82747"/>
                </a:srgbClr>
              </a:gs>
            </a:gsLst>
            <a:lin ang="2413842"/>
          </a:gra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406299716"/>
      </p:ext>
    </p:extLst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pic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45751" cy="225709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250FC4BB-3987-0846-AAAF-4626EF25E880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C0A3AFB2-9E67-0B4B-B83A-3FB7DED2F8B7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xmlns="" id="{0696B8A1-59BE-354F-B966-FAAE465D1567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xmlns="" id="{9999621F-F68B-B448-A273-E25305FCD7ED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xmlns="" id="{B137514E-A55B-9B40-8A7A-A746633001F1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xmlns="" id="{4DE61A4F-BAFF-884E-9839-7B44E1B3DCB5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FC988D02-C8B1-6C48-9C28-A2A9DB8CDC77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Text color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xmlns="" id="{D23CE807-6079-914A-8F5C-73C658630709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xmlns="" id="{8386261F-EB91-1F4C-9340-2137E4E57277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Brand color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69D206C8-684A-DF4A-9958-8AB38911CC60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mplimentary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lors</a:t>
            </a:r>
          </a:p>
        </p:txBody>
      </p:sp>
      <p:sp>
        <p:nvSpPr>
          <p:cNvPr id="24" name="Footer Placeholder 4">
            <a:extLst>
              <a:ext uri="{FF2B5EF4-FFF2-40B4-BE49-F238E27FC236}">
                <a16:creationId xmlns:a16="http://schemas.microsoft.com/office/drawing/2014/main" xmlns="" id="{4208EE5F-E7C6-5D4A-9515-69C9E41762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1799" y="6605588"/>
            <a:ext cx="2774338" cy="2801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xmlns="" id="{3FF98A13-DF45-134F-A30B-44DBACB2B43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81273" y="492574"/>
            <a:ext cx="4004350" cy="5770922"/>
          </a:xfrm>
          <a:custGeom>
            <a:avLst/>
            <a:gdLst>
              <a:gd name="connsiteX0" fmla="*/ 0 w 4552950"/>
              <a:gd name="connsiteY0" fmla="*/ 0 h 4260850"/>
              <a:gd name="connsiteX1" fmla="*/ 2422525 w 4552950"/>
              <a:gd name="connsiteY1" fmla="*/ 0 h 4260850"/>
              <a:gd name="connsiteX2" fmla="*/ 4552950 w 4552950"/>
              <a:gd name="connsiteY2" fmla="*/ 2130425 h 4260850"/>
              <a:gd name="connsiteX3" fmla="*/ 2422525 w 4552950"/>
              <a:gd name="connsiteY3" fmla="*/ 4260850 h 4260850"/>
              <a:gd name="connsiteX4" fmla="*/ 0 w 4552950"/>
              <a:gd name="connsiteY4" fmla="*/ 4260850 h 4260850"/>
              <a:gd name="connsiteX5" fmla="*/ 2130425 w 4552950"/>
              <a:gd name="connsiteY5" fmla="*/ 2130425 h 4260850"/>
              <a:gd name="connsiteX6" fmla="*/ 0 w 4552950"/>
              <a:gd name="connsiteY6" fmla="*/ 0 h 426085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76594"/>
              <a:gd name="connsiteY0" fmla="*/ 107950 h 4368800"/>
              <a:gd name="connsiteX1" fmla="*/ 2225675 w 4576594"/>
              <a:gd name="connsiteY1" fmla="*/ 0 h 4368800"/>
              <a:gd name="connsiteX2" fmla="*/ 3482729 w 4576594"/>
              <a:gd name="connsiteY2" fmla="*/ 1184275 h 4368800"/>
              <a:gd name="connsiteX3" fmla="*/ 4552950 w 4576594"/>
              <a:gd name="connsiteY3" fmla="*/ 2238375 h 4368800"/>
              <a:gd name="connsiteX4" fmla="*/ 2422525 w 4576594"/>
              <a:gd name="connsiteY4" fmla="*/ 4368800 h 4368800"/>
              <a:gd name="connsiteX5" fmla="*/ 0 w 4576594"/>
              <a:gd name="connsiteY5" fmla="*/ 4368800 h 4368800"/>
              <a:gd name="connsiteX6" fmla="*/ 2130425 w 4576594"/>
              <a:gd name="connsiteY6" fmla="*/ 2238375 h 4368800"/>
              <a:gd name="connsiteX7" fmla="*/ 0 w 4576594"/>
              <a:gd name="connsiteY7" fmla="*/ 107950 h 4368800"/>
              <a:gd name="connsiteX0" fmla="*/ 0 w 4574056"/>
              <a:gd name="connsiteY0" fmla="*/ 107950 h 4368800"/>
              <a:gd name="connsiteX1" fmla="*/ 2225675 w 4574056"/>
              <a:gd name="connsiteY1" fmla="*/ 0 h 4368800"/>
              <a:gd name="connsiteX2" fmla="*/ 3362079 w 4574056"/>
              <a:gd name="connsiteY2" fmla="*/ 1019175 h 4368800"/>
              <a:gd name="connsiteX3" fmla="*/ 4552950 w 4574056"/>
              <a:gd name="connsiteY3" fmla="*/ 2238375 h 4368800"/>
              <a:gd name="connsiteX4" fmla="*/ 2422525 w 4574056"/>
              <a:gd name="connsiteY4" fmla="*/ 4368800 h 4368800"/>
              <a:gd name="connsiteX5" fmla="*/ 0 w 4574056"/>
              <a:gd name="connsiteY5" fmla="*/ 4368800 h 4368800"/>
              <a:gd name="connsiteX6" fmla="*/ 2130425 w 4574056"/>
              <a:gd name="connsiteY6" fmla="*/ 2238375 h 4368800"/>
              <a:gd name="connsiteX7" fmla="*/ 0 w 4574056"/>
              <a:gd name="connsiteY7" fmla="*/ 107950 h 4368800"/>
              <a:gd name="connsiteX0" fmla="*/ 0 w 4574056"/>
              <a:gd name="connsiteY0" fmla="*/ 107950 h 4368800"/>
              <a:gd name="connsiteX1" fmla="*/ 1946029 w 4574056"/>
              <a:gd name="connsiteY1" fmla="*/ 15875 h 4368800"/>
              <a:gd name="connsiteX2" fmla="*/ 2225675 w 4574056"/>
              <a:gd name="connsiteY2" fmla="*/ 0 h 4368800"/>
              <a:gd name="connsiteX3" fmla="*/ 3362079 w 4574056"/>
              <a:gd name="connsiteY3" fmla="*/ 1019175 h 4368800"/>
              <a:gd name="connsiteX4" fmla="*/ 4552950 w 4574056"/>
              <a:gd name="connsiteY4" fmla="*/ 2238375 h 4368800"/>
              <a:gd name="connsiteX5" fmla="*/ 2422525 w 4574056"/>
              <a:gd name="connsiteY5" fmla="*/ 4368800 h 4368800"/>
              <a:gd name="connsiteX6" fmla="*/ 0 w 4574056"/>
              <a:gd name="connsiteY6" fmla="*/ 4368800 h 4368800"/>
              <a:gd name="connsiteX7" fmla="*/ 2130425 w 4574056"/>
              <a:gd name="connsiteY7" fmla="*/ 2238375 h 4368800"/>
              <a:gd name="connsiteX8" fmla="*/ 0 w 4574056"/>
              <a:gd name="connsiteY8" fmla="*/ 107950 h 4368800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3614049"/>
              <a:gd name="connsiteY0" fmla="*/ 155575 h 4416425"/>
              <a:gd name="connsiteX1" fmla="*/ 1888879 w 3614049"/>
              <a:gd name="connsiteY1" fmla="*/ 0 h 4416425"/>
              <a:gd name="connsiteX2" fmla="*/ 2225675 w 3614049"/>
              <a:gd name="connsiteY2" fmla="*/ 47625 h 4416425"/>
              <a:gd name="connsiteX3" fmla="*/ 3362079 w 3614049"/>
              <a:gd name="connsiteY3" fmla="*/ 1066800 h 4416425"/>
              <a:gd name="connsiteX4" fmla="*/ 3441700 w 3614049"/>
              <a:gd name="connsiteY4" fmla="*/ 3448050 h 4416425"/>
              <a:gd name="connsiteX5" fmla="*/ 2422525 w 3614049"/>
              <a:gd name="connsiteY5" fmla="*/ 4416425 h 4416425"/>
              <a:gd name="connsiteX6" fmla="*/ 0 w 3614049"/>
              <a:gd name="connsiteY6" fmla="*/ 4416425 h 4416425"/>
              <a:gd name="connsiteX7" fmla="*/ 2130425 w 3614049"/>
              <a:gd name="connsiteY7" fmla="*/ 2286000 h 4416425"/>
              <a:gd name="connsiteX8" fmla="*/ 0 w 3614049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2130425 w 4199688"/>
              <a:gd name="connsiteY7" fmla="*/ 228600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831975 w 4199688"/>
              <a:gd name="connsiteY7" fmla="*/ 22796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834779 w 4199688"/>
              <a:gd name="connsiteY8" fmla="*/ 16065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488829 w 4199688"/>
              <a:gd name="connsiteY8" fmla="*/ 15938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526929 w 4199688"/>
              <a:gd name="connsiteY8" fmla="*/ 21907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0 w 4199688"/>
              <a:gd name="connsiteY11" fmla="*/ 1555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476129 w 4199688"/>
              <a:gd name="connsiteY1" fmla="*/ 2794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9845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212151"/>
              <a:gd name="connsiteY0" fmla="*/ 574675 h 4416425"/>
              <a:gd name="connsiteX1" fmla="*/ 1361829 w 4212151"/>
              <a:gd name="connsiteY1" fmla="*/ 190501 h 4416425"/>
              <a:gd name="connsiteX2" fmla="*/ 1888879 w 4212151"/>
              <a:gd name="connsiteY2" fmla="*/ 0 h 4416425"/>
              <a:gd name="connsiteX3" fmla="*/ 2225675 w 4212151"/>
              <a:gd name="connsiteY3" fmla="*/ 47625 h 4416425"/>
              <a:gd name="connsiteX4" fmla="*/ 2574679 w 4212151"/>
              <a:gd name="connsiteY4" fmla="*/ 279401 h 4416425"/>
              <a:gd name="connsiteX5" fmla="*/ 3362079 w 4212151"/>
              <a:gd name="connsiteY5" fmla="*/ 1066800 h 4416425"/>
              <a:gd name="connsiteX6" fmla="*/ 3441700 w 4212151"/>
              <a:gd name="connsiteY6" fmla="*/ 3448050 h 4416425"/>
              <a:gd name="connsiteX7" fmla="*/ 2422525 w 4212151"/>
              <a:gd name="connsiteY7" fmla="*/ 4416425 h 4416425"/>
              <a:gd name="connsiteX8" fmla="*/ 0 w 4212151"/>
              <a:gd name="connsiteY8" fmla="*/ 4416425 h 4416425"/>
              <a:gd name="connsiteX9" fmla="*/ 1590675 w 4212151"/>
              <a:gd name="connsiteY9" fmla="*/ 2901950 h 4416425"/>
              <a:gd name="connsiteX10" fmla="*/ 1825379 w 4212151"/>
              <a:gd name="connsiteY10" fmla="*/ 2203451 h 4416425"/>
              <a:gd name="connsiteX11" fmla="*/ 1647579 w 4212151"/>
              <a:gd name="connsiteY11" fmla="*/ 1739901 h 4416425"/>
              <a:gd name="connsiteX12" fmla="*/ 1355479 w 4212151"/>
              <a:gd name="connsiteY12" fmla="*/ 1460501 h 4416425"/>
              <a:gd name="connsiteX13" fmla="*/ 1041400 w 4212151"/>
              <a:gd name="connsiteY13" fmla="*/ 574675 h 4416425"/>
              <a:gd name="connsiteX0" fmla="*/ 1041400 w 4003839"/>
              <a:gd name="connsiteY0" fmla="*/ 574675 h 4416425"/>
              <a:gd name="connsiteX1" fmla="*/ 1361829 w 4003839"/>
              <a:gd name="connsiteY1" fmla="*/ 190501 h 4416425"/>
              <a:gd name="connsiteX2" fmla="*/ 1888879 w 4003839"/>
              <a:gd name="connsiteY2" fmla="*/ 0 h 4416425"/>
              <a:gd name="connsiteX3" fmla="*/ 2225675 w 4003839"/>
              <a:gd name="connsiteY3" fmla="*/ 47625 h 4416425"/>
              <a:gd name="connsiteX4" fmla="*/ 2574679 w 4003839"/>
              <a:gd name="connsiteY4" fmla="*/ 279401 h 4416425"/>
              <a:gd name="connsiteX5" fmla="*/ 3362079 w 4003839"/>
              <a:gd name="connsiteY5" fmla="*/ 1066800 h 4416425"/>
              <a:gd name="connsiteX6" fmla="*/ 4003430 w 4003839"/>
              <a:gd name="connsiteY6" fmla="*/ 2870201 h 4416425"/>
              <a:gd name="connsiteX7" fmla="*/ 3441700 w 4003839"/>
              <a:gd name="connsiteY7" fmla="*/ 3448050 h 4416425"/>
              <a:gd name="connsiteX8" fmla="*/ 2422525 w 4003839"/>
              <a:gd name="connsiteY8" fmla="*/ 4416425 h 4416425"/>
              <a:gd name="connsiteX9" fmla="*/ 0 w 4003839"/>
              <a:gd name="connsiteY9" fmla="*/ 4416425 h 4416425"/>
              <a:gd name="connsiteX10" fmla="*/ 1590675 w 4003839"/>
              <a:gd name="connsiteY10" fmla="*/ 2901950 h 4416425"/>
              <a:gd name="connsiteX11" fmla="*/ 1825379 w 4003839"/>
              <a:gd name="connsiteY11" fmla="*/ 2203451 h 4416425"/>
              <a:gd name="connsiteX12" fmla="*/ 1647579 w 4003839"/>
              <a:gd name="connsiteY12" fmla="*/ 1739901 h 4416425"/>
              <a:gd name="connsiteX13" fmla="*/ 1355479 w 4003839"/>
              <a:gd name="connsiteY13" fmla="*/ 1460501 h 4416425"/>
              <a:gd name="connsiteX14" fmla="*/ 1041400 w 4003839"/>
              <a:gd name="connsiteY14" fmla="*/ 574675 h 4416425"/>
              <a:gd name="connsiteX0" fmla="*/ 1041400 w 4187841"/>
              <a:gd name="connsiteY0" fmla="*/ 574675 h 4416425"/>
              <a:gd name="connsiteX1" fmla="*/ 1361829 w 4187841"/>
              <a:gd name="connsiteY1" fmla="*/ 190501 h 4416425"/>
              <a:gd name="connsiteX2" fmla="*/ 1888879 w 4187841"/>
              <a:gd name="connsiteY2" fmla="*/ 0 h 4416425"/>
              <a:gd name="connsiteX3" fmla="*/ 2225675 w 4187841"/>
              <a:gd name="connsiteY3" fmla="*/ 47625 h 4416425"/>
              <a:gd name="connsiteX4" fmla="*/ 2574679 w 4187841"/>
              <a:gd name="connsiteY4" fmla="*/ 279401 h 4416425"/>
              <a:gd name="connsiteX5" fmla="*/ 3362079 w 4187841"/>
              <a:gd name="connsiteY5" fmla="*/ 1066800 h 4416425"/>
              <a:gd name="connsiteX6" fmla="*/ 4187580 w 4187841"/>
              <a:gd name="connsiteY6" fmla="*/ 2279651 h 4416425"/>
              <a:gd name="connsiteX7" fmla="*/ 3441700 w 4187841"/>
              <a:gd name="connsiteY7" fmla="*/ 3448050 h 4416425"/>
              <a:gd name="connsiteX8" fmla="*/ 2422525 w 4187841"/>
              <a:gd name="connsiteY8" fmla="*/ 4416425 h 4416425"/>
              <a:gd name="connsiteX9" fmla="*/ 0 w 4187841"/>
              <a:gd name="connsiteY9" fmla="*/ 4416425 h 4416425"/>
              <a:gd name="connsiteX10" fmla="*/ 1590675 w 4187841"/>
              <a:gd name="connsiteY10" fmla="*/ 2901950 h 4416425"/>
              <a:gd name="connsiteX11" fmla="*/ 1825379 w 4187841"/>
              <a:gd name="connsiteY11" fmla="*/ 2203451 h 4416425"/>
              <a:gd name="connsiteX12" fmla="*/ 1647579 w 4187841"/>
              <a:gd name="connsiteY12" fmla="*/ 1739901 h 4416425"/>
              <a:gd name="connsiteX13" fmla="*/ 1355479 w 4187841"/>
              <a:gd name="connsiteY13" fmla="*/ 1460501 h 4416425"/>
              <a:gd name="connsiteX14" fmla="*/ 1041400 w 4187841"/>
              <a:gd name="connsiteY14" fmla="*/ 574675 h 4416425"/>
              <a:gd name="connsiteX0" fmla="*/ 1041400 w 4200656"/>
              <a:gd name="connsiteY0" fmla="*/ 574675 h 4416425"/>
              <a:gd name="connsiteX1" fmla="*/ 1361829 w 4200656"/>
              <a:gd name="connsiteY1" fmla="*/ 190501 h 4416425"/>
              <a:gd name="connsiteX2" fmla="*/ 1888879 w 4200656"/>
              <a:gd name="connsiteY2" fmla="*/ 0 h 4416425"/>
              <a:gd name="connsiteX3" fmla="*/ 2225675 w 4200656"/>
              <a:gd name="connsiteY3" fmla="*/ 47625 h 4416425"/>
              <a:gd name="connsiteX4" fmla="*/ 2574679 w 4200656"/>
              <a:gd name="connsiteY4" fmla="*/ 279401 h 4416425"/>
              <a:gd name="connsiteX5" fmla="*/ 3362079 w 4200656"/>
              <a:gd name="connsiteY5" fmla="*/ 1066800 h 4416425"/>
              <a:gd name="connsiteX6" fmla="*/ 3876430 w 4200656"/>
              <a:gd name="connsiteY6" fmla="*/ 1714501 h 4416425"/>
              <a:gd name="connsiteX7" fmla="*/ 4187580 w 4200656"/>
              <a:gd name="connsiteY7" fmla="*/ 2279651 h 4416425"/>
              <a:gd name="connsiteX8" fmla="*/ 3441700 w 4200656"/>
              <a:gd name="connsiteY8" fmla="*/ 3448050 h 4416425"/>
              <a:gd name="connsiteX9" fmla="*/ 2422525 w 4200656"/>
              <a:gd name="connsiteY9" fmla="*/ 4416425 h 4416425"/>
              <a:gd name="connsiteX10" fmla="*/ 0 w 4200656"/>
              <a:gd name="connsiteY10" fmla="*/ 4416425 h 4416425"/>
              <a:gd name="connsiteX11" fmla="*/ 1590675 w 4200656"/>
              <a:gd name="connsiteY11" fmla="*/ 2901950 h 4416425"/>
              <a:gd name="connsiteX12" fmla="*/ 1825379 w 4200656"/>
              <a:gd name="connsiteY12" fmla="*/ 2203451 h 4416425"/>
              <a:gd name="connsiteX13" fmla="*/ 1647579 w 4200656"/>
              <a:gd name="connsiteY13" fmla="*/ 1739901 h 4416425"/>
              <a:gd name="connsiteX14" fmla="*/ 1355479 w 4200656"/>
              <a:gd name="connsiteY14" fmla="*/ 1460501 h 4416425"/>
              <a:gd name="connsiteX15" fmla="*/ 1041400 w 4200656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3672"/>
              <a:gd name="connsiteY0" fmla="*/ 574675 h 4416425"/>
              <a:gd name="connsiteX1" fmla="*/ 1361829 w 4203672"/>
              <a:gd name="connsiteY1" fmla="*/ 190501 h 4416425"/>
              <a:gd name="connsiteX2" fmla="*/ 1888879 w 4203672"/>
              <a:gd name="connsiteY2" fmla="*/ 0 h 4416425"/>
              <a:gd name="connsiteX3" fmla="*/ 2225675 w 4203672"/>
              <a:gd name="connsiteY3" fmla="*/ 47625 h 4416425"/>
              <a:gd name="connsiteX4" fmla="*/ 2574679 w 4203672"/>
              <a:gd name="connsiteY4" fmla="*/ 279401 h 4416425"/>
              <a:gd name="connsiteX5" fmla="*/ 3362079 w 4203672"/>
              <a:gd name="connsiteY5" fmla="*/ 1066800 h 4416425"/>
              <a:gd name="connsiteX6" fmla="*/ 3952630 w 4203672"/>
              <a:gd name="connsiteY6" fmla="*/ 1663701 h 4416425"/>
              <a:gd name="connsiteX7" fmla="*/ 4187580 w 4203672"/>
              <a:gd name="connsiteY7" fmla="*/ 2279651 h 4416425"/>
              <a:gd name="connsiteX8" fmla="*/ 3441700 w 4203672"/>
              <a:gd name="connsiteY8" fmla="*/ 3448050 h 4416425"/>
              <a:gd name="connsiteX9" fmla="*/ 2422525 w 4203672"/>
              <a:gd name="connsiteY9" fmla="*/ 4416425 h 4416425"/>
              <a:gd name="connsiteX10" fmla="*/ 0 w 4203672"/>
              <a:gd name="connsiteY10" fmla="*/ 4416425 h 4416425"/>
              <a:gd name="connsiteX11" fmla="*/ 1590675 w 4203672"/>
              <a:gd name="connsiteY11" fmla="*/ 2901950 h 4416425"/>
              <a:gd name="connsiteX12" fmla="*/ 1825379 w 4203672"/>
              <a:gd name="connsiteY12" fmla="*/ 2203451 h 4416425"/>
              <a:gd name="connsiteX13" fmla="*/ 1647579 w 4203672"/>
              <a:gd name="connsiteY13" fmla="*/ 1739901 h 4416425"/>
              <a:gd name="connsiteX14" fmla="*/ 1355479 w 4203672"/>
              <a:gd name="connsiteY14" fmla="*/ 1460501 h 4416425"/>
              <a:gd name="connsiteX15" fmla="*/ 1041400 w 4203672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441700 w 4191105"/>
              <a:gd name="connsiteY8" fmla="*/ 3448050 h 4416425"/>
              <a:gd name="connsiteX9" fmla="*/ 2422525 w 4191105"/>
              <a:gd name="connsiteY9" fmla="*/ 4416425 h 4416425"/>
              <a:gd name="connsiteX10" fmla="*/ 0 w 4191105"/>
              <a:gd name="connsiteY10" fmla="*/ 4416425 h 4416425"/>
              <a:gd name="connsiteX11" fmla="*/ 1590675 w 4191105"/>
              <a:gd name="connsiteY11" fmla="*/ 2901950 h 4416425"/>
              <a:gd name="connsiteX12" fmla="*/ 1825379 w 4191105"/>
              <a:gd name="connsiteY12" fmla="*/ 2203451 h 4416425"/>
              <a:gd name="connsiteX13" fmla="*/ 1647579 w 4191105"/>
              <a:gd name="connsiteY13" fmla="*/ 1739901 h 4416425"/>
              <a:gd name="connsiteX14" fmla="*/ 1355479 w 4191105"/>
              <a:gd name="connsiteY14" fmla="*/ 1460501 h 4416425"/>
              <a:gd name="connsiteX15" fmla="*/ 1041400 w 4191105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971680 w 4191105"/>
              <a:gd name="connsiteY8" fmla="*/ 27432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4035180 w 4191105"/>
              <a:gd name="connsiteY8" fmla="*/ 28194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838278 w 3172386"/>
              <a:gd name="connsiteY12" fmla="*/ 418465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393778 w 3172386"/>
              <a:gd name="connsiteY13" fmla="*/ 385445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996 w 3163824"/>
              <a:gd name="connsiteY0" fmla="*/ 633232 h 4575175"/>
              <a:gd name="connsiteX1" fmla="*/ 334416 w 3163824"/>
              <a:gd name="connsiteY1" fmla="*/ 190501 h 4575175"/>
              <a:gd name="connsiteX2" fmla="*/ 861466 w 3163824"/>
              <a:gd name="connsiteY2" fmla="*/ 0 h 4575175"/>
              <a:gd name="connsiteX3" fmla="*/ 1198262 w 3163824"/>
              <a:gd name="connsiteY3" fmla="*/ 47625 h 4575175"/>
              <a:gd name="connsiteX4" fmla="*/ 1547266 w 3163824"/>
              <a:gd name="connsiteY4" fmla="*/ 279401 h 4575175"/>
              <a:gd name="connsiteX5" fmla="*/ 2334666 w 3163824"/>
              <a:gd name="connsiteY5" fmla="*/ 1066800 h 4575175"/>
              <a:gd name="connsiteX6" fmla="*/ 2925217 w 3163824"/>
              <a:gd name="connsiteY6" fmla="*/ 1663701 h 4575175"/>
              <a:gd name="connsiteX7" fmla="*/ 3160167 w 3163824"/>
              <a:gd name="connsiteY7" fmla="*/ 2279651 h 4575175"/>
              <a:gd name="connsiteX8" fmla="*/ 2950617 w 3163824"/>
              <a:gd name="connsiteY8" fmla="*/ 2882901 h 4575175"/>
              <a:gd name="connsiteX9" fmla="*/ 2414287 w 3163824"/>
              <a:gd name="connsiteY9" fmla="*/ 3448050 h 4575175"/>
              <a:gd name="connsiteX10" fmla="*/ 1395112 w 3163824"/>
              <a:gd name="connsiteY10" fmla="*/ 4416425 h 4575175"/>
              <a:gd name="connsiteX11" fmla="*/ 915687 w 3163824"/>
              <a:gd name="connsiteY11" fmla="*/ 4575175 h 4575175"/>
              <a:gd name="connsiteX12" fmla="*/ 315366 w 3163824"/>
              <a:gd name="connsiteY12" fmla="*/ 4292601 h 4575175"/>
              <a:gd name="connsiteX13" fmla="*/ 67716 w 3163824"/>
              <a:gd name="connsiteY13" fmla="*/ 3822701 h 4575175"/>
              <a:gd name="connsiteX14" fmla="*/ 213766 w 3163824"/>
              <a:gd name="connsiteY14" fmla="*/ 3309938 h 4575175"/>
              <a:gd name="connsiteX15" fmla="*/ 563262 w 3163824"/>
              <a:gd name="connsiteY15" fmla="*/ 2901950 h 4575175"/>
              <a:gd name="connsiteX16" fmla="*/ 797966 w 3163824"/>
              <a:gd name="connsiteY16" fmla="*/ 2203451 h 4575175"/>
              <a:gd name="connsiteX17" fmla="*/ 620166 w 3163824"/>
              <a:gd name="connsiteY17" fmla="*/ 1739901 h 4575175"/>
              <a:gd name="connsiteX18" fmla="*/ 328066 w 3163824"/>
              <a:gd name="connsiteY18" fmla="*/ 1460501 h 4575175"/>
              <a:gd name="connsiteX19" fmla="*/ 22996 w 3163824"/>
              <a:gd name="connsiteY19" fmla="*/ 633232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597196 w 3172385"/>
              <a:gd name="connsiteY17" fmla="*/ 179395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332 w 3172169"/>
              <a:gd name="connsiteY0" fmla="*/ 606206 h 4575175"/>
              <a:gd name="connsiteX1" fmla="*/ 342761 w 3172169"/>
              <a:gd name="connsiteY1" fmla="*/ 190501 h 4575175"/>
              <a:gd name="connsiteX2" fmla="*/ 869811 w 3172169"/>
              <a:gd name="connsiteY2" fmla="*/ 0 h 4575175"/>
              <a:gd name="connsiteX3" fmla="*/ 1206607 w 3172169"/>
              <a:gd name="connsiteY3" fmla="*/ 47625 h 4575175"/>
              <a:gd name="connsiteX4" fmla="*/ 1555611 w 3172169"/>
              <a:gd name="connsiteY4" fmla="*/ 279401 h 4575175"/>
              <a:gd name="connsiteX5" fmla="*/ 2343011 w 3172169"/>
              <a:gd name="connsiteY5" fmla="*/ 1066800 h 4575175"/>
              <a:gd name="connsiteX6" fmla="*/ 2933562 w 3172169"/>
              <a:gd name="connsiteY6" fmla="*/ 1663701 h 4575175"/>
              <a:gd name="connsiteX7" fmla="*/ 3168512 w 3172169"/>
              <a:gd name="connsiteY7" fmla="*/ 2279651 h 4575175"/>
              <a:gd name="connsiteX8" fmla="*/ 2958962 w 3172169"/>
              <a:gd name="connsiteY8" fmla="*/ 2882901 h 4575175"/>
              <a:gd name="connsiteX9" fmla="*/ 2422632 w 3172169"/>
              <a:gd name="connsiteY9" fmla="*/ 3448050 h 4575175"/>
              <a:gd name="connsiteX10" fmla="*/ 1403457 w 3172169"/>
              <a:gd name="connsiteY10" fmla="*/ 4416425 h 4575175"/>
              <a:gd name="connsiteX11" fmla="*/ 924032 w 3172169"/>
              <a:gd name="connsiteY11" fmla="*/ 4575175 h 4575175"/>
              <a:gd name="connsiteX12" fmla="*/ 323711 w 3172169"/>
              <a:gd name="connsiteY12" fmla="*/ 4292601 h 4575175"/>
              <a:gd name="connsiteX13" fmla="*/ 76061 w 3172169"/>
              <a:gd name="connsiteY13" fmla="*/ 3822701 h 4575175"/>
              <a:gd name="connsiteX14" fmla="*/ 222111 w 3172169"/>
              <a:gd name="connsiteY14" fmla="*/ 3309938 h 4575175"/>
              <a:gd name="connsiteX15" fmla="*/ 571607 w 3172169"/>
              <a:gd name="connsiteY15" fmla="*/ 2901950 h 4575175"/>
              <a:gd name="connsiteX16" fmla="*/ 806311 w 3172169"/>
              <a:gd name="connsiteY16" fmla="*/ 2203451 h 4575175"/>
              <a:gd name="connsiteX17" fmla="*/ 633015 w 3172169"/>
              <a:gd name="connsiteY17" fmla="*/ 1753414 h 4575175"/>
              <a:gd name="connsiteX18" fmla="*/ 340915 w 3172169"/>
              <a:gd name="connsiteY18" fmla="*/ 1469510 h 4575175"/>
              <a:gd name="connsiteX19" fmla="*/ 22332 w 3172169"/>
              <a:gd name="connsiteY19" fmla="*/ 606206 h 4575175"/>
              <a:gd name="connsiteX0" fmla="*/ 22747 w 3172584"/>
              <a:gd name="connsiteY0" fmla="*/ 606206 h 4575175"/>
              <a:gd name="connsiteX1" fmla="*/ 343176 w 3172584"/>
              <a:gd name="connsiteY1" fmla="*/ 190501 h 4575175"/>
              <a:gd name="connsiteX2" fmla="*/ 870226 w 3172584"/>
              <a:gd name="connsiteY2" fmla="*/ 0 h 4575175"/>
              <a:gd name="connsiteX3" fmla="*/ 1207022 w 3172584"/>
              <a:gd name="connsiteY3" fmla="*/ 47625 h 4575175"/>
              <a:gd name="connsiteX4" fmla="*/ 1556026 w 3172584"/>
              <a:gd name="connsiteY4" fmla="*/ 279401 h 4575175"/>
              <a:gd name="connsiteX5" fmla="*/ 2343426 w 3172584"/>
              <a:gd name="connsiteY5" fmla="*/ 1066800 h 4575175"/>
              <a:gd name="connsiteX6" fmla="*/ 2933977 w 3172584"/>
              <a:gd name="connsiteY6" fmla="*/ 1663701 h 4575175"/>
              <a:gd name="connsiteX7" fmla="*/ 3168927 w 3172584"/>
              <a:gd name="connsiteY7" fmla="*/ 2279651 h 4575175"/>
              <a:gd name="connsiteX8" fmla="*/ 2959377 w 3172584"/>
              <a:gd name="connsiteY8" fmla="*/ 2882901 h 4575175"/>
              <a:gd name="connsiteX9" fmla="*/ 2423047 w 3172584"/>
              <a:gd name="connsiteY9" fmla="*/ 3448050 h 4575175"/>
              <a:gd name="connsiteX10" fmla="*/ 1403872 w 3172584"/>
              <a:gd name="connsiteY10" fmla="*/ 4416425 h 4575175"/>
              <a:gd name="connsiteX11" fmla="*/ 924447 w 3172584"/>
              <a:gd name="connsiteY11" fmla="*/ 4575175 h 4575175"/>
              <a:gd name="connsiteX12" fmla="*/ 324126 w 3172584"/>
              <a:gd name="connsiteY12" fmla="*/ 4292601 h 4575175"/>
              <a:gd name="connsiteX13" fmla="*/ 76476 w 3172584"/>
              <a:gd name="connsiteY13" fmla="*/ 3822701 h 4575175"/>
              <a:gd name="connsiteX14" fmla="*/ 222526 w 3172584"/>
              <a:gd name="connsiteY14" fmla="*/ 3309938 h 4575175"/>
              <a:gd name="connsiteX15" fmla="*/ 572022 w 3172584"/>
              <a:gd name="connsiteY15" fmla="*/ 2901950 h 4575175"/>
              <a:gd name="connsiteX16" fmla="*/ 806726 w 3172584"/>
              <a:gd name="connsiteY16" fmla="*/ 2203451 h 4575175"/>
              <a:gd name="connsiteX17" fmla="*/ 633430 w 3172584"/>
              <a:gd name="connsiteY17" fmla="*/ 1753414 h 4575175"/>
              <a:gd name="connsiteX18" fmla="*/ 341330 w 3172584"/>
              <a:gd name="connsiteY18" fmla="*/ 1469510 h 4575175"/>
              <a:gd name="connsiteX19" fmla="*/ 22747 w 3172584"/>
              <a:gd name="connsiteY19" fmla="*/ 606206 h 4575175"/>
              <a:gd name="connsiteX0" fmla="*/ 21541 w 3171378"/>
              <a:gd name="connsiteY0" fmla="*/ 606206 h 4575175"/>
              <a:gd name="connsiteX1" fmla="*/ 341970 w 3171378"/>
              <a:gd name="connsiteY1" fmla="*/ 190501 h 4575175"/>
              <a:gd name="connsiteX2" fmla="*/ 869020 w 3171378"/>
              <a:gd name="connsiteY2" fmla="*/ 0 h 4575175"/>
              <a:gd name="connsiteX3" fmla="*/ 1205816 w 3171378"/>
              <a:gd name="connsiteY3" fmla="*/ 47625 h 4575175"/>
              <a:gd name="connsiteX4" fmla="*/ 1554820 w 3171378"/>
              <a:gd name="connsiteY4" fmla="*/ 279401 h 4575175"/>
              <a:gd name="connsiteX5" fmla="*/ 2342220 w 3171378"/>
              <a:gd name="connsiteY5" fmla="*/ 1066800 h 4575175"/>
              <a:gd name="connsiteX6" fmla="*/ 2932771 w 3171378"/>
              <a:gd name="connsiteY6" fmla="*/ 1663701 h 4575175"/>
              <a:gd name="connsiteX7" fmla="*/ 3167721 w 3171378"/>
              <a:gd name="connsiteY7" fmla="*/ 2279651 h 4575175"/>
              <a:gd name="connsiteX8" fmla="*/ 2958171 w 3171378"/>
              <a:gd name="connsiteY8" fmla="*/ 2882901 h 4575175"/>
              <a:gd name="connsiteX9" fmla="*/ 2421841 w 3171378"/>
              <a:gd name="connsiteY9" fmla="*/ 3448050 h 4575175"/>
              <a:gd name="connsiteX10" fmla="*/ 1402666 w 3171378"/>
              <a:gd name="connsiteY10" fmla="*/ 4416425 h 4575175"/>
              <a:gd name="connsiteX11" fmla="*/ 923241 w 3171378"/>
              <a:gd name="connsiteY11" fmla="*/ 4575175 h 4575175"/>
              <a:gd name="connsiteX12" fmla="*/ 322920 w 3171378"/>
              <a:gd name="connsiteY12" fmla="*/ 4292601 h 4575175"/>
              <a:gd name="connsiteX13" fmla="*/ 75270 w 3171378"/>
              <a:gd name="connsiteY13" fmla="*/ 3822701 h 4575175"/>
              <a:gd name="connsiteX14" fmla="*/ 221320 w 3171378"/>
              <a:gd name="connsiteY14" fmla="*/ 3309938 h 4575175"/>
              <a:gd name="connsiteX15" fmla="*/ 570816 w 3171378"/>
              <a:gd name="connsiteY15" fmla="*/ 2901950 h 4575175"/>
              <a:gd name="connsiteX16" fmla="*/ 805520 w 3171378"/>
              <a:gd name="connsiteY16" fmla="*/ 2203451 h 4575175"/>
              <a:gd name="connsiteX17" fmla="*/ 632224 w 3171378"/>
              <a:gd name="connsiteY17" fmla="*/ 1753414 h 4575175"/>
              <a:gd name="connsiteX18" fmla="*/ 340124 w 3171378"/>
              <a:gd name="connsiteY18" fmla="*/ 1469510 h 4575175"/>
              <a:gd name="connsiteX19" fmla="*/ 21541 w 3171378"/>
              <a:gd name="connsiteY19" fmla="*/ 606206 h 4575175"/>
              <a:gd name="connsiteX0" fmla="*/ 7707 w 3157544"/>
              <a:gd name="connsiteY0" fmla="*/ 606206 h 4575175"/>
              <a:gd name="connsiteX1" fmla="*/ 328136 w 3157544"/>
              <a:gd name="connsiteY1" fmla="*/ 190501 h 4575175"/>
              <a:gd name="connsiteX2" fmla="*/ 855186 w 3157544"/>
              <a:gd name="connsiteY2" fmla="*/ 0 h 4575175"/>
              <a:gd name="connsiteX3" fmla="*/ 1191982 w 3157544"/>
              <a:gd name="connsiteY3" fmla="*/ 47625 h 4575175"/>
              <a:gd name="connsiteX4" fmla="*/ 1540986 w 3157544"/>
              <a:gd name="connsiteY4" fmla="*/ 279401 h 4575175"/>
              <a:gd name="connsiteX5" fmla="*/ 2328386 w 3157544"/>
              <a:gd name="connsiteY5" fmla="*/ 1066800 h 4575175"/>
              <a:gd name="connsiteX6" fmla="*/ 2918937 w 3157544"/>
              <a:gd name="connsiteY6" fmla="*/ 1663701 h 4575175"/>
              <a:gd name="connsiteX7" fmla="*/ 3153887 w 3157544"/>
              <a:gd name="connsiteY7" fmla="*/ 2279651 h 4575175"/>
              <a:gd name="connsiteX8" fmla="*/ 2944337 w 3157544"/>
              <a:gd name="connsiteY8" fmla="*/ 2882901 h 4575175"/>
              <a:gd name="connsiteX9" fmla="*/ 2408007 w 3157544"/>
              <a:gd name="connsiteY9" fmla="*/ 3448050 h 4575175"/>
              <a:gd name="connsiteX10" fmla="*/ 1388832 w 3157544"/>
              <a:gd name="connsiteY10" fmla="*/ 4416425 h 4575175"/>
              <a:gd name="connsiteX11" fmla="*/ 909407 w 3157544"/>
              <a:gd name="connsiteY11" fmla="*/ 4575175 h 4575175"/>
              <a:gd name="connsiteX12" fmla="*/ 309086 w 3157544"/>
              <a:gd name="connsiteY12" fmla="*/ 4292601 h 4575175"/>
              <a:gd name="connsiteX13" fmla="*/ 61436 w 3157544"/>
              <a:gd name="connsiteY13" fmla="*/ 3822701 h 4575175"/>
              <a:gd name="connsiteX14" fmla="*/ 207486 w 3157544"/>
              <a:gd name="connsiteY14" fmla="*/ 3309938 h 4575175"/>
              <a:gd name="connsiteX15" fmla="*/ 556982 w 3157544"/>
              <a:gd name="connsiteY15" fmla="*/ 2901950 h 4575175"/>
              <a:gd name="connsiteX16" fmla="*/ 791686 w 3157544"/>
              <a:gd name="connsiteY16" fmla="*/ 2203451 h 4575175"/>
              <a:gd name="connsiteX17" fmla="*/ 618390 w 3157544"/>
              <a:gd name="connsiteY17" fmla="*/ 1753414 h 4575175"/>
              <a:gd name="connsiteX18" fmla="*/ 326290 w 3157544"/>
              <a:gd name="connsiteY18" fmla="*/ 1469510 h 4575175"/>
              <a:gd name="connsiteX19" fmla="*/ 118243 w 3157544"/>
              <a:gd name="connsiteY19" fmla="*/ 1272964 h 4575175"/>
              <a:gd name="connsiteX20" fmla="*/ 7707 w 3157544"/>
              <a:gd name="connsiteY20" fmla="*/ 606206 h 4575175"/>
              <a:gd name="connsiteX0" fmla="*/ 7180 w 3157017"/>
              <a:gd name="connsiteY0" fmla="*/ 606206 h 4575175"/>
              <a:gd name="connsiteX1" fmla="*/ 327609 w 3157017"/>
              <a:gd name="connsiteY1" fmla="*/ 190501 h 4575175"/>
              <a:gd name="connsiteX2" fmla="*/ 854659 w 3157017"/>
              <a:gd name="connsiteY2" fmla="*/ 0 h 4575175"/>
              <a:gd name="connsiteX3" fmla="*/ 1191455 w 3157017"/>
              <a:gd name="connsiteY3" fmla="*/ 47625 h 4575175"/>
              <a:gd name="connsiteX4" fmla="*/ 1540459 w 3157017"/>
              <a:gd name="connsiteY4" fmla="*/ 279401 h 4575175"/>
              <a:gd name="connsiteX5" fmla="*/ 2327859 w 3157017"/>
              <a:gd name="connsiteY5" fmla="*/ 1066800 h 4575175"/>
              <a:gd name="connsiteX6" fmla="*/ 2918410 w 3157017"/>
              <a:gd name="connsiteY6" fmla="*/ 1663701 h 4575175"/>
              <a:gd name="connsiteX7" fmla="*/ 3153360 w 3157017"/>
              <a:gd name="connsiteY7" fmla="*/ 2279651 h 4575175"/>
              <a:gd name="connsiteX8" fmla="*/ 2943810 w 3157017"/>
              <a:gd name="connsiteY8" fmla="*/ 2882901 h 4575175"/>
              <a:gd name="connsiteX9" fmla="*/ 2407480 w 3157017"/>
              <a:gd name="connsiteY9" fmla="*/ 3448050 h 4575175"/>
              <a:gd name="connsiteX10" fmla="*/ 1388305 w 3157017"/>
              <a:gd name="connsiteY10" fmla="*/ 4416425 h 4575175"/>
              <a:gd name="connsiteX11" fmla="*/ 908880 w 3157017"/>
              <a:gd name="connsiteY11" fmla="*/ 4575175 h 4575175"/>
              <a:gd name="connsiteX12" fmla="*/ 308559 w 3157017"/>
              <a:gd name="connsiteY12" fmla="*/ 4292601 h 4575175"/>
              <a:gd name="connsiteX13" fmla="*/ 60909 w 3157017"/>
              <a:gd name="connsiteY13" fmla="*/ 3822701 h 4575175"/>
              <a:gd name="connsiteX14" fmla="*/ 206959 w 3157017"/>
              <a:gd name="connsiteY14" fmla="*/ 3309938 h 4575175"/>
              <a:gd name="connsiteX15" fmla="*/ 556455 w 3157017"/>
              <a:gd name="connsiteY15" fmla="*/ 2901950 h 4575175"/>
              <a:gd name="connsiteX16" fmla="*/ 791159 w 3157017"/>
              <a:gd name="connsiteY16" fmla="*/ 2203451 h 4575175"/>
              <a:gd name="connsiteX17" fmla="*/ 617863 w 3157017"/>
              <a:gd name="connsiteY17" fmla="*/ 1753414 h 4575175"/>
              <a:gd name="connsiteX18" fmla="*/ 325763 w 3157017"/>
              <a:gd name="connsiteY18" fmla="*/ 1469510 h 4575175"/>
              <a:gd name="connsiteX19" fmla="*/ 126725 w 3157017"/>
              <a:gd name="connsiteY19" fmla="*/ 1245938 h 4575175"/>
              <a:gd name="connsiteX20" fmla="*/ 7180 w 3157017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20915 w 3174640"/>
              <a:gd name="connsiteY16" fmla="*/ 2583755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3174640" h="4575175">
                <a:moveTo>
                  <a:pt x="24803" y="606206"/>
                </a:moveTo>
                <a:cubicBezTo>
                  <a:pt x="125263" y="342139"/>
                  <a:pt x="225722" y="286809"/>
                  <a:pt x="345232" y="190501"/>
                </a:cubicBezTo>
                <a:cubicBezTo>
                  <a:pt x="609815" y="6351"/>
                  <a:pt x="747399" y="19050"/>
                  <a:pt x="872282" y="0"/>
                </a:cubicBezTo>
                <a:cubicBezTo>
                  <a:pt x="1009947" y="3175"/>
                  <a:pt x="1103163" y="6350"/>
                  <a:pt x="1209078" y="47625"/>
                </a:cubicBezTo>
                <a:cubicBezTo>
                  <a:pt x="1323378" y="97367"/>
                  <a:pt x="1368681" y="109539"/>
                  <a:pt x="1558082" y="279401"/>
                </a:cubicBezTo>
                <a:cubicBezTo>
                  <a:pt x="1664933" y="385763"/>
                  <a:pt x="2023179" y="738717"/>
                  <a:pt x="2345482" y="1066800"/>
                </a:cubicBezTo>
                <a:cubicBezTo>
                  <a:pt x="2562441" y="1305983"/>
                  <a:pt x="2792100" y="1499659"/>
                  <a:pt x="2936033" y="1663701"/>
                </a:cubicBezTo>
                <a:cubicBezTo>
                  <a:pt x="3060916" y="1821393"/>
                  <a:pt x="3198988" y="1990726"/>
                  <a:pt x="3170983" y="2279651"/>
                </a:cubicBezTo>
                <a:cubicBezTo>
                  <a:pt x="3174158" y="2459568"/>
                  <a:pt x="3130196" y="2656418"/>
                  <a:pt x="2961433" y="2882901"/>
                </a:cubicBezTo>
                <a:cubicBezTo>
                  <a:pt x="2779970" y="3083984"/>
                  <a:pt x="2683296" y="3169179"/>
                  <a:pt x="2425103" y="3448050"/>
                </a:cubicBezTo>
                <a:cubicBezTo>
                  <a:pt x="2085378" y="3770842"/>
                  <a:pt x="1577456" y="4305248"/>
                  <a:pt x="1423945" y="4416425"/>
                </a:cubicBezTo>
                <a:cubicBezTo>
                  <a:pt x="1264137" y="4513792"/>
                  <a:pt x="1117091" y="4570994"/>
                  <a:pt x="926503" y="4575175"/>
                </a:cubicBezTo>
                <a:cubicBezTo>
                  <a:pt x="760586" y="4565974"/>
                  <a:pt x="551689" y="4513792"/>
                  <a:pt x="326182" y="4292601"/>
                </a:cubicBezTo>
                <a:cubicBezTo>
                  <a:pt x="224582" y="4167718"/>
                  <a:pt x="95142" y="3979991"/>
                  <a:pt x="87541" y="3831710"/>
                </a:cubicBezTo>
                <a:cubicBezTo>
                  <a:pt x="74028" y="3613139"/>
                  <a:pt x="142032" y="3466042"/>
                  <a:pt x="224582" y="3309938"/>
                </a:cubicBezTo>
                <a:cubicBezTo>
                  <a:pt x="366481" y="3129492"/>
                  <a:pt x="387729" y="3095096"/>
                  <a:pt x="574078" y="2901950"/>
                </a:cubicBezTo>
                <a:cubicBezTo>
                  <a:pt x="656800" y="2780920"/>
                  <a:pt x="692307" y="2737709"/>
                  <a:pt x="747941" y="2592764"/>
                </a:cubicBezTo>
                <a:cubicBezTo>
                  <a:pt x="772043" y="2492863"/>
                  <a:pt x="805002" y="2386884"/>
                  <a:pt x="799773" y="2221468"/>
                </a:cubicBezTo>
                <a:cubicBezTo>
                  <a:pt x="779744" y="1998341"/>
                  <a:pt x="738660" y="1938002"/>
                  <a:pt x="635486" y="1753414"/>
                </a:cubicBezTo>
                <a:cubicBezTo>
                  <a:pt x="563645" y="1664785"/>
                  <a:pt x="442254" y="1567148"/>
                  <a:pt x="343386" y="1469510"/>
                </a:cubicBezTo>
                <a:cubicBezTo>
                  <a:pt x="260028" y="1389435"/>
                  <a:pt x="251498" y="1394326"/>
                  <a:pt x="144348" y="1245938"/>
                </a:cubicBezTo>
                <a:cubicBezTo>
                  <a:pt x="-34873" y="1025479"/>
                  <a:pt x="-10179" y="786616"/>
                  <a:pt x="24803" y="606206"/>
                </a:cubicBezTo>
                <a:close/>
              </a:path>
            </a:pathLst>
          </a:custGeom>
          <a:solidFill>
            <a:schemeClr val="bg1">
              <a:lumMod val="50000"/>
              <a:alpha val="73000"/>
            </a:schemeClr>
          </a:solidFill>
          <a:effectLst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xmlns="" id="{BAC57860-C767-4247-BDA3-5F46998915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6826" y="715477"/>
            <a:ext cx="6929080" cy="788175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xmlns="" id="{D9F71CED-5046-4E47-AB85-9D39CDD41C5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78494" y="1626761"/>
            <a:ext cx="6929080" cy="4475275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38956005"/>
      </p:ext>
    </p:extLst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87E4B6E5-EE3A-7F46-9F36-FE6B5F11D0C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pic>
        <p:nvPicPr>
          <p:cNvPr id="6" name="shutterstock_380731009.jpg" descr="shutterstock_380731009.jpg">
            <a:extLst>
              <a:ext uri="{FF2B5EF4-FFF2-40B4-BE49-F238E27FC236}">
                <a16:creationId xmlns:a16="http://schemas.microsoft.com/office/drawing/2014/main" xmlns="" id="{DBE14DF1-A1E2-8744-B1F3-7AD6EE38E4E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21734" cy="6875953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Rectangle">
            <a:extLst>
              <a:ext uri="{FF2B5EF4-FFF2-40B4-BE49-F238E27FC236}">
                <a16:creationId xmlns:a16="http://schemas.microsoft.com/office/drawing/2014/main" xmlns="" id="{4FC5040F-02CB-4B4A-AE2D-E25B07DFABC6}"/>
              </a:ext>
            </a:extLst>
          </p:cNvPr>
          <p:cNvSpPr/>
          <p:nvPr/>
        </p:nvSpPr>
        <p:spPr>
          <a:xfrm>
            <a:off x="-13791" y="0"/>
            <a:ext cx="12235525" cy="6875953"/>
          </a:xfrm>
          <a:prstGeom prst="rect">
            <a:avLst/>
          </a:prstGeom>
          <a:gradFill>
            <a:gsLst>
              <a:gs pos="0">
                <a:srgbClr val="0D29B3">
                  <a:alpha val="89412"/>
                </a:srgbClr>
              </a:gs>
              <a:gs pos="100000">
                <a:srgbClr val="16D562">
                  <a:alpha val="89412"/>
                </a:srgbClr>
              </a:gs>
            </a:gsLst>
            <a:lin ang="1152097"/>
          </a:gra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720067380"/>
      </p:ext>
    </p:extLst>
  </p:cSld>
  <p:clrMapOvr>
    <a:masterClrMapping/>
  </p:clrMapOvr>
  <p:hf hd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7"/>
          <p:cNvGrpSpPr>
            <a:grpSpLocks/>
          </p:cNvGrpSpPr>
          <p:nvPr/>
        </p:nvGrpSpPr>
        <p:grpSpPr bwMode="auto">
          <a:xfrm>
            <a:off x="3116263" y="2365375"/>
            <a:ext cx="87312" cy="993775"/>
            <a:chOff x="3244345" y="2066994"/>
            <a:chExt cx="86400" cy="993600"/>
          </a:xfrm>
        </p:grpSpPr>
        <p:sp>
          <p:nvSpPr>
            <p:cNvPr id="8" name="Rectangle 7"/>
            <p:cNvSpPr/>
            <p:nvPr/>
          </p:nvSpPr>
          <p:spPr>
            <a:xfrm>
              <a:off x="3276745" y="2110194"/>
              <a:ext cx="21600" cy="864000"/>
            </a:xfrm>
            <a:prstGeom prst="rect">
              <a:avLst/>
            </a:prstGeom>
            <a:gradFill>
              <a:gsLst>
                <a:gs pos="97345">
                  <a:srgbClr val="0166B2"/>
                </a:gs>
                <a:gs pos="0">
                  <a:srgbClr val="92D050"/>
                </a:gs>
                <a:gs pos="44000">
                  <a:srgbClr val="009ADE"/>
                </a:gs>
              </a:gsLst>
              <a:path path="circle">
                <a:fillToRect l="100000" t="10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3244345" y="2066994"/>
              <a:ext cx="86400" cy="85710"/>
            </a:xfrm>
            <a:prstGeom prst="ellipse">
              <a:avLst/>
            </a:prstGeom>
            <a:solidFill>
              <a:srgbClr val="0066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10" name="Oval 9"/>
            <p:cNvSpPr/>
            <p:nvPr/>
          </p:nvSpPr>
          <p:spPr>
            <a:xfrm>
              <a:off x="3244345" y="2974884"/>
              <a:ext cx="86400" cy="85710"/>
            </a:xfrm>
            <a:prstGeom prst="ellipse">
              <a:avLst/>
            </a:prstGeom>
            <a:solidFill>
              <a:srgbClr val="0066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</p:grpSp>
      <p:grpSp>
        <p:nvGrpSpPr>
          <p:cNvPr id="11" name="Group 11"/>
          <p:cNvGrpSpPr>
            <a:grpSpLocks/>
          </p:cNvGrpSpPr>
          <p:nvPr/>
        </p:nvGrpSpPr>
        <p:grpSpPr bwMode="auto">
          <a:xfrm>
            <a:off x="3116263" y="4186238"/>
            <a:ext cx="87312" cy="992187"/>
            <a:chOff x="3244345" y="2066994"/>
            <a:chExt cx="86400" cy="993600"/>
          </a:xfrm>
        </p:grpSpPr>
        <p:sp>
          <p:nvSpPr>
            <p:cNvPr id="12" name="Rectangle 11"/>
            <p:cNvSpPr/>
            <p:nvPr/>
          </p:nvSpPr>
          <p:spPr>
            <a:xfrm>
              <a:off x="3276745" y="2110194"/>
              <a:ext cx="21600" cy="864000"/>
            </a:xfrm>
            <a:prstGeom prst="rect">
              <a:avLst/>
            </a:prstGeom>
            <a:gradFill>
              <a:gsLst>
                <a:gs pos="97345">
                  <a:srgbClr val="0166B2"/>
                </a:gs>
                <a:gs pos="0">
                  <a:srgbClr val="92D050"/>
                </a:gs>
                <a:gs pos="44000">
                  <a:srgbClr val="009ADE"/>
                </a:gs>
              </a:gsLst>
              <a:path path="circle">
                <a:fillToRect l="100000" t="10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13" name="Oval 12"/>
            <p:cNvSpPr/>
            <p:nvPr/>
          </p:nvSpPr>
          <p:spPr>
            <a:xfrm>
              <a:off x="3244345" y="2066994"/>
              <a:ext cx="86400" cy="85847"/>
            </a:xfrm>
            <a:prstGeom prst="ellipse">
              <a:avLst/>
            </a:prstGeom>
            <a:solidFill>
              <a:srgbClr val="0066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14" name="Oval 13"/>
            <p:cNvSpPr/>
            <p:nvPr/>
          </p:nvSpPr>
          <p:spPr>
            <a:xfrm>
              <a:off x="3244345" y="2974747"/>
              <a:ext cx="86400" cy="85847"/>
            </a:xfrm>
            <a:prstGeom prst="ellipse">
              <a:avLst/>
            </a:prstGeom>
            <a:solidFill>
              <a:srgbClr val="0066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</p:grp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260" y="0"/>
            <a:ext cx="6553200" cy="911225"/>
          </a:xfrm>
        </p:spPr>
        <p:txBody>
          <a:bodyPr/>
          <a:lstStyle/>
          <a:p>
            <a:r>
              <a:rPr lang="en-US" altLang="en-US" smtClean="0"/>
              <a:t>Click to edit Master title style</a:t>
            </a:r>
            <a:endParaRPr lang="en-IN" altLang="en-US" dirty="0"/>
          </a:p>
        </p:txBody>
      </p:sp>
      <p:sp>
        <p:nvSpPr>
          <p:cNvPr id="41" name="Content Placeholder 4"/>
          <p:cNvSpPr>
            <a:spLocks noGrp="1"/>
          </p:cNvSpPr>
          <p:nvPr>
            <p:ph sz="half" idx="4294967295"/>
          </p:nvPr>
        </p:nvSpPr>
        <p:spPr>
          <a:xfrm>
            <a:off x="478968" y="4152707"/>
            <a:ext cx="2260600" cy="106045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Content Placeholder 5"/>
          <p:cNvSpPr>
            <a:spLocks noGrp="1"/>
          </p:cNvSpPr>
          <p:nvPr>
            <p:ph sz="half" idx="4294967295"/>
          </p:nvPr>
        </p:nvSpPr>
        <p:spPr>
          <a:xfrm>
            <a:off x="3526968" y="2328607"/>
            <a:ext cx="5676900" cy="10033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3" name="Content Placeholder 6"/>
          <p:cNvSpPr>
            <a:spLocks noGrp="1"/>
          </p:cNvSpPr>
          <p:nvPr>
            <p:ph sz="half" idx="4294967295"/>
          </p:nvPr>
        </p:nvSpPr>
        <p:spPr>
          <a:xfrm>
            <a:off x="3526968" y="4152707"/>
            <a:ext cx="5676900" cy="10604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Content Placeholder 3"/>
          <p:cNvSpPr>
            <a:spLocks noGrp="1"/>
          </p:cNvSpPr>
          <p:nvPr>
            <p:ph sz="half" idx="4294967295"/>
          </p:nvPr>
        </p:nvSpPr>
        <p:spPr>
          <a:xfrm>
            <a:off x="478968" y="2328607"/>
            <a:ext cx="2260600" cy="10033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8842060"/>
      </p:ext>
    </p:extLst>
  </p:cSld>
  <p:clrMapOvr>
    <a:masterClrMapping/>
  </p:clrMapOvr>
  <p:hf hd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7"/>
          <p:cNvGrpSpPr>
            <a:grpSpLocks/>
          </p:cNvGrpSpPr>
          <p:nvPr/>
        </p:nvGrpSpPr>
        <p:grpSpPr bwMode="auto">
          <a:xfrm>
            <a:off x="5873750" y="2443163"/>
            <a:ext cx="85725" cy="3116262"/>
            <a:chOff x="3244345" y="-55928"/>
            <a:chExt cx="86400" cy="3116522"/>
          </a:xfrm>
        </p:grpSpPr>
        <p:sp>
          <p:nvSpPr>
            <p:cNvPr id="6" name="Rectangle 5"/>
            <p:cNvSpPr/>
            <p:nvPr/>
          </p:nvSpPr>
          <p:spPr>
            <a:xfrm>
              <a:off x="3276745" y="21682"/>
              <a:ext cx="25200" cy="2952000"/>
            </a:xfrm>
            <a:prstGeom prst="rect">
              <a:avLst/>
            </a:prstGeom>
            <a:gradFill>
              <a:gsLst>
                <a:gs pos="97345">
                  <a:srgbClr val="0166B2"/>
                </a:gs>
                <a:gs pos="0">
                  <a:srgbClr val="92D050"/>
                </a:gs>
                <a:gs pos="44000">
                  <a:srgbClr val="009ADE"/>
                </a:gs>
              </a:gsLst>
              <a:path path="circle">
                <a:fillToRect l="100000" t="10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7" name="Oval 6"/>
            <p:cNvSpPr/>
            <p:nvPr/>
          </p:nvSpPr>
          <p:spPr>
            <a:xfrm>
              <a:off x="3244345" y="-55928"/>
              <a:ext cx="86400" cy="85732"/>
            </a:xfrm>
            <a:prstGeom prst="ellipse">
              <a:avLst/>
            </a:prstGeom>
            <a:solidFill>
              <a:srgbClr val="0066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3244345" y="2974862"/>
              <a:ext cx="86400" cy="85732"/>
            </a:xfrm>
            <a:prstGeom prst="ellipse">
              <a:avLst/>
            </a:prstGeom>
            <a:solidFill>
              <a:srgbClr val="0066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89260" y="20930"/>
            <a:ext cx="6553200" cy="911225"/>
          </a:xfrm>
        </p:spPr>
        <p:txBody>
          <a:bodyPr/>
          <a:lstStyle/>
          <a:p>
            <a:r>
              <a:rPr lang="en-US" altLang="en-US" smtClean="0"/>
              <a:t>Click to edit Master title style</a:t>
            </a:r>
            <a:endParaRPr lang="en-IN" alt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4294967295"/>
          </p:nvPr>
        </p:nvSpPr>
        <p:spPr>
          <a:xfrm>
            <a:off x="429981" y="1825625"/>
            <a:ext cx="5181600" cy="435133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half" idx="4294967295"/>
          </p:nvPr>
        </p:nvSpPr>
        <p:spPr>
          <a:xfrm>
            <a:off x="6218006" y="1827213"/>
            <a:ext cx="5181600" cy="4351337"/>
          </a:xfrm>
        </p:spPr>
        <p:txBody>
          <a:bodyPr/>
          <a:lstStyle>
            <a:lvl1pPr marL="0" marR="0" indent="0" algn="l" defTabSz="912813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3DCB89AE-14E3-E446-9D90-520A51340C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3374" y="341259"/>
            <a:ext cx="2015414" cy="369252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xmlns="" id="{E64AE565-3152-D84D-A473-D02463E77880}"/>
              </a:ext>
            </a:extLst>
          </p:cNvPr>
          <p:cNvSpPr txBox="1">
            <a:spLocks/>
          </p:cNvSpPr>
          <p:nvPr userDrawn="1"/>
        </p:nvSpPr>
        <p:spPr>
          <a:xfrm>
            <a:off x="11924168" y="6605588"/>
            <a:ext cx="245751" cy="225709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rgbClr val="929292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en-IN" sz="1100" b="0" i="0" u="none" strike="noStrike" kern="0" cap="none" spc="0" normalizeH="0" baseline="0" noProof="0" smtClean="0">
                <a:ln>
                  <a:noFill/>
                </a:ln>
                <a:solidFill>
                  <a:srgbClr val="929292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100" b="0" i="0" u="none" strike="noStrike" kern="0" cap="none" spc="0" normalizeH="0" baseline="0" noProof="0" dirty="0">
              <a:ln>
                <a:noFill/>
              </a:ln>
              <a:solidFill>
                <a:srgbClr val="929292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xmlns="" id="{9908D209-98BF-2A4B-8298-8ECBD9E9DA5D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xmlns="" id="{EB6C49EE-74EB-734C-ADC5-B157448EAC83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xmlns="" id="{92A4171B-28D4-784C-BD71-4A2D84F793EF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B778F22A-8EA5-CB4E-A80D-9B523B637ADF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38298B80-281F-9B47-8E7B-225463163521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A738F259-801C-0A4D-BB5F-2913FC195DB0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05109AEC-F46C-9343-8876-241CA7F0CF01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Text color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xmlns="" id="{63965890-881F-0548-9AA6-6BEDB629FF4A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C8A682B1-016E-8448-9F6D-DA4F5A7FD212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Brand color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AF073868-2303-4649-B151-B5A1C678C254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Complimentary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colors</a:t>
            </a:r>
          </a:p>
        </p:txBody>
      </p:sp>
    </p:spTree>
    <p:extLst>
      <p:ext uri="{BB962C8B-B14F-4D97-AF65-F5344CB8AC3E}">
        <p14:creationId xmlns:p14="http://schemas.microsoft.com/office/powerpoint/2010/main" val="39341896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1588"/>
            <a:ext cx="12192000" cy="6861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itle 1"/>
          <p:cNvSpPr txBox="1">
            <a:spLocks/>
          </p:cNvSpPr>
          <p:nvPr/>
        </p:nvSpPr>
        <p:spPr bwMode="auto">
          <a:xfrm>
            <a:off x="7954963" y="3038475"/>
            <a:ext cx="3606800" cy="911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0066B1"/>
                </a:solidFill>
                <a:latin typeface="+mn-lt"/>
                <a:ea typeface="+mj-ea"/>
                <a:cs typeface="+mj-cs"/>
              </a:defRPr>
            </a:lvl1pPr>
            <a:lvl2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0066B1"/>
                </a:solidFill>
                <a:latin typeface="Calibri" panose="020F0502020204030204" pitchFamily="34" charset="0"/>
              </a:defRPr>
            </a:lvl2pPr>
            <a:lvl3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0066B1"/>
                </a:solidFill>
                <a:latin typeface="Calibri" panose="020F0502020204030204" pitchFamily="34" charset="0"/>
              </a:defRPr>
            </a:lvl3pPr>
            <a:lvl4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0066B1"/>
                </a:solidFill>
                <a:latin typeface="Calibri" panose="020F0502020204030204" pitchFamily="34" charset="0"/>
              </a:defRPr>
            </a:lvl4pPr>
            <a:lvl5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0066B1"/>
                </a:solidFill>
                <a:latin typeface="Calibri" panose="020F0502020204030204" pitchFamily="34" charset="0"/>
              </a:defRPr>
            </a:lvl5pPr>
            <a:lvl6pPr marL="4572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3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j-ea"/>
                <a:cs typeface="+mj-cs"/>
                <a:sym typeface="Calibri"/>
              </a:rPr>
              <a:t>Thank You</a:t>
            </a:r>
            <a:endParaRPr kumimoji="0" lang="en-IN" altLang="en-US" sz="3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j-ea"/>
              <a:cs typeface="+mj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2207158"/>
      </p:ext>
    </p:extLst>
  </p:cSld>
  <p:clrMapOvr>
    <a:masterClrMapping/>
  </p:clrMapOvr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4"/>
          <p:cNvSpPr>
            <a:spLocks noGrp="1"/>
          </p:cNvSpPr>
          <p:nvPr>
            <p:ph type="title"/>
          </p:nvPr>
        </p:nvSpPr>
        <p:spPr>
          <a:xfrm>
            <a:off x="348336" y="129656"/>
            <a:ext cx="9318178" cy="7794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 dirty="0"/>
          </a:p>
        </p:txBody>
      </p:sp>
      <p:sp>
        <p:nvSpPr>
          <p:cNvPr id="8" name="Content Placeholder 2"/>
          <p:cNvSpPr>
            <a:spLocks noGrp="1"/>
          </p:cNvSpPr>
          <p:nvPr>
            <p:ph idx="4294967295"/>
          </p:nvPr>
        </p:nvSpPr>
        <p:spPr>
          <a:xfrm>
            <a:off x="364665" y="1307507"/>
            <a:ext cx="10515600" cy="4932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rgbClr val="0066B1"/>
                </a:solidFill>
              </a:defRPr>
            </a:lvl1pPr>
            <a:lvl2pPr>
              <a:defRPr sz="2000">
                <a:solidFill>
                  <a:srgbClr val="0066B1"/>
                </a:solidFill>
              </a:defRPr>
            </a:lvl2pPr>
            <a:lvl3pPr>
              <a:defRPr sz="2000">
                <a:solidFill>
                  <a:srgbClr val="0066B1"/>
                </a:solidFill>
              </a:defRPr>
            </a:lvl3pPr>
            <a:lvl4pPr>
              <a:defRPr sz="2000">
                <a:solidFill>
                  <a:srgbClr val="0066B1"/>
                </a:solidFill>
              </a:defRPr>
            </a:lvl4pPr>
            <a:lvl5pPr>
              <a:defRPr sz="2000">
                <a:solidFill>
                  <a:srgbClr val="0066B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882917379"/>
      </p:ext>
    </p:extLst>
  </p:cSld>
  <p:clrMapOvr>
    <a:masterClrMapping/>
  </p:clrMapOvr>
  <p:hf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IN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C1B52D-7485-264C-B4F3-6A96EBB94E64}" type="datetime3">
              <a:rPr kumimoji="0" lang="en-IN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 October 2019</a:t>
            </a:fld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Copyright © 2018 Sterlite Tech.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en-IN" sz="1200" b="0" i="0" u="none" strike="noStrike" kern="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itchFamily="34" charset="0"/>
              <a:ea typeface="+mn-ea"/>
              <a:cs typeface="+mn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25806955"/>
      </p:ext>
    </p:extLst>
  </p:cSld>
  <p:clrMapOvr>
    <a:masterClrMapping/>
  </p:clrMapOvr>
  <p:hf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20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C1B52D-7485-264C-B4F3-6A96EBB94E64}" type="datetime3">
              <a:rPr kumimoji="0" lang="en-IN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 October 2019</a:t>
            </a:fld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Copyright © 2018 Sterlite Tech.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en-IN" sz="1200" b="0" i="0" u="none" strike="noStrike" kern="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itchFamily="34" charset="0"/>
              <a:ea typeface="+mn-ea"/>
              <a:cs typeface="+mn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03722539"/>
      </p:ext>
    </p:extLst>
  </p:cSld>
  <p:clrMapOvr>
    <a:masterClrMapping/>
  </p:clrMapOvr>
  <p:hf hd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"/>
          <p:cNvSpPr/>
          <p:nvPr/>
        </p:nvSpPr>
        <p:spPr>
          <a:xfrm>
            <a:off x="-4138" y="0"/>
            <a:ext cx="12230432" cy="1059606"/>
          </a:xfrm>
          <a:prstGeom prst="rect">
            <a:avLst/>
          </a:prstGeom>
          <a:gradFill>
            <a:gsLst>
              <a:gs pos="0">
                <a:srgbClr val="0D29B3">
                  <a:alpha val="89412"/>
                </a:srgbClr>
              </a:gs>
              <a:gs pos="100000">
                <a:srgbClr val="18D521">
                  <a:alpha val="89412"/>
                </a:srgbClr>
              </a:gs>
            </a:gsLst>
            <a:lin ang="2413842"/>
          </a:gra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D834818E-EC28-9645-9347-F9D41C90B9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3374" y="341259"/>
            <a:ext cx="2015414" cy="3692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873A3218-217B-494A-AA85-B666F0B41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192" y="125608"/>
            <a:ext cx="9161579" cy="800554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6834EBBD-F344-BC42-8A59-4A611AD90B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8554" y="1755395"/>
            <a:ext cx="10683430" cy="426085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xmlns="" id="{7062C53C-70C0-244F-ABC2-135CA0E50B06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45751" cy="22570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itchFamily="34" charset="0"/>
              <a:ea typeface="+mn-ea"/>
              <a:cs typeface="+mn-cs"/>
              <a:sym typeface="Calibri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521B9F41-F234-5646-8C69-31DB1DDE0F7A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DF74820F-00D0-3144-9F5F-E63C0E86852F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xmlns="" id="{41A83626-8724-9645-A457-B6947B936126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xmlns="" id="{BA8B78A6-FFFF-A34A-A215-A200C015C9E0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xmlns="" id="{757E2777-89F5-C845-8CEA-52FB08D6DA28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xmlns="" id="{C8660B14-6FB3-794C-AA6A-399EFDD5777F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3A9ECFFF-C4EB-0948-BA91-2631A7564B83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Text color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xmlns="" id="{EBC27F33-7866-4F4A-9FCF-1DF9C5ACAE7D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8AA9D110-9BF5-7947-9FAE-921099CA6FCD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Brand color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F422A268-4CEA-F743-8CD9-CE9C39DDAB51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Complimentary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colors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xmlns="" id="{D4498B79-858E-1543-BA26-1BD641D46B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605588"/>
            <a:ext cx="1892300" cy="2801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Copyright © 2018 Sterlite Tech.</a:t>
            </a:r>
          </a:p>
        </p:txBody>
      </p:sp>
    </p:spTree>
    <p:extLst>
      <p:ext uri="{BB962C8B-B14F-4D97-AF65-F5344CB8AC3E}">
        <p14:creationId xmlns:p14="http://schemas.microsoft.com/office/powerpoint/2010/main" val="2274208360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22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/>
        </p:nvSpPr>
        <p:spPr>
          <a:xfrm>
            <a:off x="0" y="0"/>
            <a:ext cx="12192000" cy="1070517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90000"/>
                </a:schemeClr>
              </a:gs>
              <a:gs pos="78000">
                <a:schemeClr val="bg1"/>
              </a:gs>
            </a:gsLst>
            <a:lin ang="16200000" scaled="1"/>
            <a:tileRect/>
          </a:gra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9495307" cy="332399"/>
          </a:xfrm>
        </p:spPr>
        <p:txBody>
          <a:bodyPr anchor="b"/>
          <a:lstStyle>
            <a:lvl1pPr>
              <a:defRPr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04 Project Leap_Next Gen SW Solutions 3Oct2018.pptx</a:t>
            </a:r>
            <a:endParaRPr kumimoji="0" lang="en-US" sz="7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6349" y="6636423"/>
            <a:ext cx="12242464" cy="383388"/>
            <a:chOff x="6349" y="6636423"/>
            <a:chExt cx="12242464" cy="383388"/>
          </a:xfrm>
        </p:grpSpPr>
        <p:sp>
          <p:nvSpPr>
            <p:cNvPr id="13" name="Rectangle 12"/>
            <p:cNvSpPr/>
            <p:nvPr userDrawn="1"/>
          </p:nvSpPr>
          <p:spPr>
            <a:xfrm>
              <a:off x="6349" y="6711924"/>
              <a:ext cx="11966575" cy="146076"/>
            </a:xfrm>
            <a:prstGeom prst="rect">
              <a:avLst/>
            </a:prstGeom>
            <a:gradFill flip="none" rotWithShape="1">
              <a:gsLst>
                <a:gs pos="0">
                  <a:srgbClr val="0092DB"/>
                </a:gs>
                <a:gs pos="92000">
                  <a:srgbClr val="70AD47"/>
                </a:gs>
              </a:gsLst>
              <a:lin ang="0" scaled="1"/>
              <a:tileRect/>
            </a:gradFill>
            <a:ln w="9525" cap="rnd">
              <a:noFill/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endParaRPr>
            </a:p>
          </p:txBody>
        </p:sp>
        <p:grpSp>
          <p:nvGrpSpPr>
            <p:cNvPr id="14" name="Group 13"/>
            <p:cNvGrpSpPr/>
            <p:nvPr userDrawn="1"/>
          </p:nvGrpSpPr>
          <p:grpSpPr>
            <a:xfrm>
              <a:off x="11971119" y="6636423"/>
              <a:ext cx="277694" cy="383388"/>
              <a:chOff x="11879043" y="6645154"/>
              <a:chExt cx="277694" cy="383388"/>
            </a:xfrm>
          </p:grpSpPr>
          <p:sp>
            <p:nvSpPr>
              <p:cNvPr id="15" name="Arc 14"/>
              <p:cNvSpPr/>
              <p:nvPr userDrawn="1"/>
            </p:nvSpPr>
            <p:spPr>
              <a:xfrm>
                <a:off x="11879043" y="6666015"/>
                <a:ext cx="277694" cy="362527"/>
              </a:xfrm>
              <a:prstGeom prst="arc">
                <a:avLst>
                  <a:gd name="adj1" fmla="val 10436195"/>
                  <a:gd name="adj2" fmla="val 16164810"/>
                </a:avLst>
              </a:prstGeom>
              <a:ln w="9525" cap="rnd">
                <a:solidFill>
                  <a:srgbClr val="70AD47"/>
                </a:solidFill>
                <a:prstDash val="solid"/>
                <a:round/>
                <a:tailEnd type="non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endParaRPr>
              </a:p>
            </p:txBody>
          </p:sp>
          <p:sp>
            <p:nvSpPr>
              <p:cNvPr id="16" name="Oval 15"/>
              <p:cNvSpPr/>
              <p:nvPr userDrawn="1"/>
            </p:nvSpPr>
            <p:spPr>
              <a:xfrm>
                <a:off x="12014300" y="6645154"/>
                <a:ext cx="36576" cy="36576"/>
              </a:xfrm>
              <a:prstGeom prst="ellipse">
                <a:avLst/>
              </a:prstGeom>
              <a:solidFill>
                <a:schemeClr val="tx2"/>
              </a:solidFill>
              <a:ln w="9525" cap="rnd">
                <a:noFill/>
                <a:prstDash val="sysDot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endParaRPr>
              </a:p>
            </p:txBody>
          </p:sp>
        </p:grpSp>
      </p:grpSp>
      <p:pic>
        <p:nvPicPr>
          <p:cNvPr id="18" name="Picture 364" descr="Sterlite Technologies logo.pn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92958" y="694668"/>
            <a:ext cx="1248378" cy="2605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8336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xmlns="" id="{0C808054-F6A8-944C-B278-21B7816A84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6473" y="469958"/>
            <a:ext cx="1059902" cy="41292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xmlns="" id="{D5C0545F-2DC0-AD4C-8EEE-A6BCC558EB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671" y="549105"/>
            <a:ext cx="5589735" cy="1508126"/>
          </a:xfrm>
          <a:prstGeom prst="rect">
            <a:avLst/>
          </a:prstGeom>
        </p:spPr>
        <p:txBody>
          <a:bodyPr/>
          <a:lstStyle>
            <a:lvl1pPr algn="l">
              <a:defRPr sz="48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24FB559D-C1CE-8747-8028-6E91AC21ED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16214" y="2569639"/>
            <a:ext cx="5620192" cy="2819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xmlns="" id="{B91601A0-D2CB-BA4A-B01A-EBB34C013813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45751" cy="225709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xmlns="" id="{2161CA03-F831-9A42-BF8D-F5030C57A577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59C311CC-746C-5C46-89B4-F9CE6A041F6F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xmlns="" id="{A5B99CD3-B95E-F840-8F3D-AB25A49BDC62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xmlns="" id="{D7CD11A5-EDD9-414D-B306-B9D1B117AEBE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xmlns="" id="{D8A6C9D4-8C2A-4640-9716-2730F8FF2E9E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xmlns="" id="{AD093E14-BD23-0340-992F-1DF17F141088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FA28637D-C818-6546-AB2C-45324A86CAF9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Text color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xmlns="" id="{CBF5E8B9-B337-BE44-854D-3F30AE8FBB92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D86D418E-93D7-2244-8F5D-AC4BBD0618E3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Brand col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8FD7F25D-6D0F-2A4F-AE75-3F187AD18020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mplimentary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lors</a:t>
            </a:r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xmlns="" id="{15D04E4D-5087-D544-8EBB-71674727E0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1799" y="6605588"/>
            <a:ext cx="2774338" cy="2801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xmlns="" id="{D770E198-EE0F-2449-B311-8220C7AF111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518618" y="469958"/>
            <a:ext cx="5159165" cy="7435199"/>
          </a:xfrm>
          <a:custGeom>
            <a:avLst/>
            <a:gdLst>
              <a:gd name="connsiteX0" fmla="*/ 0 w 4552950"/>
              <a:gd name="connsiteY0" fmla="*/ 0 h 4260850"/>
              <a:gd name="connsiteX1" fmla="*/ 2422525 w 4552950"/>
              <a:gd name="connsiteY1" fmla="*/ 0 h 4260850"/>
              <a:gd name="connsiteX2" fmla="*/ 4552950 w 4552950"/>
              <a:gd name="connsiteY2" fmla="*/ 2130425 h 4260850"/>
              <a:gd name="connsiteX3" fmla="*/ 2422525 w 4552950"/>
              <a:gd name="connsiteY3" fmla="*/ 4260850 h 4260850"/>
              <a:gd name="connsiteX4" fmla="*/ 0 w 4552950"/>
              <a:gd name="connsiteY4" fmla="*/ 4260850 h 4260850"/>
              <a:gd name="connsiteX5" fmla="*/ 2130425 w 4552950"/>
              <a:gd name="connsiteY5" fmla="*/ 2130425 h 4260850"/>
              <a:gd name="connsiteX6" fmla="*/ 0 w 4552950"/>
              <a:gd name="connsiteY6" fmla="*/ 0 h 426085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76594"/>
              <a:gd name="connsiteY0" fmla="*/ 107950 h 4368800"/>
              <a:gd name="connsiteX1" fmla="*/ 2225675 w 4576594"/>
              <a:gd name="connsiteY1" fmla="*/ 0 h 4368800"/>
              <a:gd name="connsiteX2" fmla="*/ 3482729 w 4576594"/>
              <a:gd name="connsiteY2" fmla="*/ 1184275 h 4368800"/>
              <a:gd name="connsiteX3" fmla="*/ 4552950 w 4576594"/>
              <a:gd name="connsiteY3" fmla="*/ 2238375 h 4368800"/>
              <a:gd name="connsiteX4" fmla="*/ 2422525 w 4576594"/>
              <a:gd name="connsiteY4" fmla="*/ 4368800 h 4368800"/>
              <a:gd name="connsiteX5" fmla="*/ 0 w 4576594"/>
              <a:gd name="connsiteY5" fmla="*/ 4368800 h 4368800"/>
              <a:gd name="connsiteX6" fmla="*/ 2130425 w 4576594"/>
              <a:gd name="connsiteY6" fmla="*/ 2238375 h 4368800"/>
              <a:gd name="connsiteX7" fmla="*/ 0 w 4576594"/>
              <a:gd name="connsiteY7" fmla="*/ 107950 h 4368800"/>
              <a:gd name="connsiteX0" fmla="*/ 0 w 4574056"/>
              <a:gd name="connsiteY0" fmla="*/ 107950 h 4368800"/>
              <a:gd name="connsiteX1" fmla="*/ 2225675 w 4574056"/>
              <a:gd name="connsiteY1" fmla="*/ 0 h 4368800"/>
              <a:gd name="connsiteX2" fmla="*/ 3362079 w 4574056"/>
              <a:gd name="connsiteY2" fmla="*/ 1019175 h 4368800"/>
              <a:gd name="connsiteX3" fmla="*/ 4552950 w 4574056"/>
              <a:gd name="connsiteY3" fmla="*/ 2238375 h 4368800"/>
              <a:gd name="connsiteX4" fmla="*/ 2422525 w 4574056"/>
              <a:gd name="connsiteY4" fmla="*/ 4368800 h 4368800"/>
              <a:gd name="connsiteX5" fmla="*/ 0 w 4574056"/>
              <a:gd name="connsiteY5" fmla="*/ 4368800 h 4368800"/>
              <a:gd name="connsiteX6" fmla="*/ 2130425 w 4574056"/>
              <a:gd name="connsiteY6" fmla="*/ 2238375 h 4368800"/>
              <a:gd name="connsiteX7" fmla="*/ 0 w 4574056"/>
              <a:gd name="connsiteY7" fmla="*/ 107950 h 4368800"/>
              <a:gd name="connsiteX0" fmla="*/ 0 w 4574056"/>
              <a:gd name="connsiteY0" fmla="*/ 107950 h 4368800"/>
              <a:gd name="connsiteX1" fmla="*/ 1946029 w 4574056"/>
              <a:gd name="connsiteY1" fmla="*/ 15875 h 4368800"/>
              <a:gd name="connsiteX2" fmla="*/ 2225675 w 4574056"/>
              <a:gd name="connsiteY2" fmla="*/ 0 h 4368800"/>
              <a:gd name="connsiteX3" fmla="*/ 3362079 w 4574056"/>
              <a:gd name="connsiteY3" fmla="*/ 1019175 h 4368800"/>
              <a:gd name="connsiteX4" fmla="*/ 4552950 w 4574056"/>
              <a:gd name="connsiteY4" fmla="*/ 2238375 h 4368800"/>
              <a:gd name="connsiteX5" fmla="*/ 2422525 w 4574056"/>
              <a:gd name="connsiteY5" fmla="*/ 4368800 h 4368800"/>
              <a:gd name="connsiteX6" fmla="*/ 0 w 4574056"/>
              <a:gd name="connsiteY6" fmla="*/ 4368800 h 4368800"/>
              <a:gd name="connsiteX7" fmla="*/ 2130425 w 4574056"/>
              <a:gd name="connsiteY7" fmla="*/ 2238375 h 4368800"/>
              <a:gd name="connsiteX8" fmla="*/ 0 w 4574056"/>
              <a:gd name="connsiteY8" fmla="*/ 107950 h 4368800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3614049"/>
              <a:gd name="connsiteY0" fmla="*/ 155575 h 4416425"/>
              <a:gd name="connsiteX1" fmla="*/ 1888879 w 3614049"/>
              <a:gd name="connsiteY1" fmla="*/ 0 h 4416425"/>
              <a:gd name="connsiteX2" fmla="*/ 2225675 w 3614049"/>
              <a:gd name="connsiteY2" fmla="*/ 47625 h 4416425"/>
              <a:gd name="connsiteX3" fmla="*/ 3362079 w 3614049"/>
              <a:gd name="connsiteY3" fmla="*/ 1066800 h 4416425"/>
              <a:gd name="connsiteX4" fmla="*/ 3441700 w 3614049"/>
              <a:gd name="connsiteY4" fmla="*/ 3448050 h 4416425"/>
              <a:gd name="connsiteX5" fmla="*/ 2422525 w 3614049"/>
              <a:gd name="connsiteY5" fmla="*/ 4416425 h 4416425"/>
              <a:gd name="connsiteX6" fmla="*/ 0 w 3614049"/>
              <a:gd name="connsiteY6" fmla="*/ 4416425 h 4416425"/>
              <a:gd name="connsiteX7" fmla="*/ 2130425 w 3614049"/>
              <a:gd name="connsiteY7" fmla="*/ 2286000 h 4416425"/>
              <a:gd name="connsiteX8" fmla="*/ 0 w 3614049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2130425 w 4199688"/>
              <a:gd name="connsiteY7" fmla="*/ 228600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831975 w 4199688"/>
              <a:gd name="connsiteY7" fmla="*/ 22796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834779 w 4199688"/>
              <a:gd name="connsiteY8" fmla="*/ 16065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488829 w 4199688"/>
              <a:gd name="connsiteY8" fmla="*/ 15938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526929 w 4199688"/>
              <a:gd name="connsiteY8" fmla="*/ 21907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0 w 4199688"/>
              <a:gd name="connsiteY11" fmla="*/ 1555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476129 w 4199688"/>
              <a:gd name="connsiteY1" fmla="*/ 2794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9845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212151"/>
              <a:gd name="connsiteY0" fmla="*/ 574675 h 4416425"/>
              <a:gd name="connsiteX1" fmla="*/ 1361829 w 4212151"/>
              <a:gd name="connsiteY1" fmla="*/ 190501 h 4416425"/>
              <a:gd name="connsiteX2" fmla="*/ 1888879 w 4212151"/>
              <a:gd name="connsiteY2" fmla="*/ 0 h 4416425"/>
              <a:gd name="connsiteX3" fmla="*/ 2225675 w 4212151"/>
              <a:gd name="connsiteY3" fmla="*/ 47625 h 4416425"/>
              <a:gd name="connsiteX4" fmla="*/ 2574679 w 4212151"/>
              <a:gd name="connsiteY4" fmla="*/ 279401 h 4416425"/>
              <a:gd name="connsiteX5" fmla="*/ 3362079 w 4212151"/>
              <a:gd name="connsiteY5" fmla="*/ 1066800 h 4416425"/>
              <a:gd name="connsiteX6" fmla="*/ 3441700 w 4212151"/>
              <a:gd name="connsiteY6" fmla="*/ 3448050 h 4416425"/>
              <a:gd name="connsiteX7" fmla="*/ 2422525 w 4212151"/>
              <a:gd name="connsiteY7" fmla="*/ 4416425 h 4416425"/>
              <a:gd name="connsiteX8" fmla="*/ 0 w 4212151"/>
              <a:gd name="connsiteY8" fmla="*/ 4416425 h 4416425"/>
              <a:gd name="connsiteX9" fmla="*/ 1590675 w 4212151"/>
              <a:gd name="connsiteY9" fmla="*/ 2901950 h 4416425"/>
              <a:gd name="connsiteX10" fmla="*/ 1825379 w 4212151"/>
              <a:gd name="connsiteY10" fmla="*/ 2203451 h 4416425"/>
              <a:gd name="connsiteX11" fmla="*/ 1647579 w 4212151"/>
              <a:gd name="connsiteY11" fmla="*/ 1739901 h 4416425"/>
              <a:gd name="connsiteX12" fmla="*/ 1355479 w 4212151"/>
              <a:gd name="connsiteY12" fmla="*/ 1460501 h 4416425"/>
              <a:gd name="connsiteX13" fmla="*/ 1041400 w 4212151"/>
              <a:gd name="connsiteY13" fmla="*/ 574675 h 4416425"/>
              <a:gd name="connsiteX0" fmla="*/ 1041400 w 4003839"/>
              <a:gd name="connsiteY0" fmla="*/ 574675 h 4416425"/>
              <a:gd name="connsiteX1" fmla="*/ 1361829 w 4003839"/>
              <a:gd name="connsiteY1" fmla="*/ 190501 h 4416425"/>
              <a:gd name="connsiteX2" fmla="*/ 1888879 w 4003839"/>
              <a:gd name="connsiteY2" fmla="*/ 0 h 4416425"/>
              <a:gd name="connsiteX3" fmla="*/ 2225675 w 4003839"/>
              <a:gd name="connsiteY3" fmla="*/ 47625 h 4416425"/>
              <a:gd name="connsiteX4" fmla="*/ 2574679 w 4003839"/>
              <a:gd name="connsiteY4" fmla="*/ 279401 h 4416425"/>
              <a:gd name="connsiteX5" fmla="*/ 3362079 w 4003839"/>
              <a:gd name="connsiteY5" fmla="*/ 1066800 h 4416425"/>
              <a:gd name="connsiteX6" fmla="*/ 4003430 w 4003839"/>
              <a:gd name="connsiteY6" fmla="*/ 2870201 h 4416425"/>
              <a:gd name="connsiteX7" fmla="*/ 3441700 w 4003839"/>
              <a:gd name="connsiteY7" fmla="*/ 3448050 h 4416425"/>
              <a:gd name="connsiteX8" fmla="*/ 2422525 w 4003839"/>
              <a:gd name="connsiteY8" fmla="*/ 4416425 h 4416425"/>
              <a:gd name="connsiteX9" fmla="*/ 0 w 4003839"/>
              <a:gd name="connsiteY9" fmla="*/ 4416425 h 4416425"/>
              <a:gd name="connsiteX10" fmla="*/ 1590675 w 4003839"/>
              <a:gd name="connsiteY10" fmla="*/ 2901950 h 4416425"/>
              <a:gd name="connsiteX11" fmla="*/ 1825379 w 4003839"/>
              <a:gd name="connsiteY11" fmla="*/ 2203451 h 4416425"/>
              <a:gd name="connsiteX12" fmla="*/ 1647579 w 4003839"/>
              <a:gd name="connsiteY12" fmla="*/ 1739901 h 4416425"/>
              <a:gd name="connsiteX13" fmla="*/ 1355479 w 4003839"/>
              <a:gd name="connsiteY13" fmla="*/ 1460501 h 4416425"/>
              <a:gd name="connsiteX14" fmla="*/ 1041400 w 4003839"/>
              <a:gd name="connsiteY14" fmla="*/ 574675 h 4416425"/>
              <a:gd name="connsiteX0" fmla="*/ 1041400 w 4187841"/>
              <a:gd name="connsiteY0" fmla="*/ 574675 h 4416425"/>
              <a:gd name="connsiteX1" fmla="*/ 1361829 w 4187841"/>
              <a:gd name="connsiteY1" fmla="*/ 190501 h 4416425"/>
              <a:gd name="connsiteX2" fmla="*/ 1888879 w 4187841"/>
              <a:gd name="connsiteY2" fmla="*/ 0 h 4416425"/>
              <a:gd name="connsiteX3" fmla="*/ 2225675 w 4187841"/>
              <a:gd name="connsiteY3" fmla="*/ 47625 h 4416425"/>
              <a:gd name="connsiteX4" fmla="*/ 2574679 w 4187841"/>
              <a:gd name="connsiteY4" fmla="*/ 279401 h 4416425"/>
              <a:gd name="connsiteX5" fmla="*/ 3362079 w 4187841"/>
              <a:gd name="connsiteY5" fmla="*/ 1066800 h 4416425"/>
              <a:gd name="connsiteX6" fmla="*/ 4187580 w 4187841"/>
              <a:gd name="connsiteY6" fmla="*/ 2279651 h 4416425"/>
              <a:gd name="connsiteX7" fmla="*/ 3441700 w 4187841"/>
              <a:gd name="connsiteY7" fmla="*/ 3448050 h 4416425"/>
              <a:gd name="connsiteX8" fmla="*/ 2422525 w 4187841"/>
              <a:gd name="connsiteY8" fmla="*/ 4416425 h 4416425"/>
              <a:gd name="connsiteX9" fmla="*/ 0 w 4187841"/>
              <a:gd name="connsiteY9" fmla="*/ 4416425 h 4416425"/>
              <a:gd name="connsiteX10" fmla="*/ 1590675 w 4187841"/>
              <a:gd name="connsiteY10" fmla="*/ 2901950 h 4416425"/>
              <a:gd name="connsiteX11" fmla="*/ 1825379 w 4187841"/>
              <a:gd name="connsiteY11" fmla="*/ 2203451 h 4416425"/>
              <a:gd name="connsiteX12" fmla="*/ 1647579 w 4187841"/>
              <a:gd name="connsiteY12" fmla="*/ 1739901 h 4416425"/>
              <a:gd name="connsiteX13" fmla="*/ 1355479 w 4187841"/>
              <a:gd name="connsiteY13" fmla="*/ 1460501 h 4416425"/>
              <a:gd name="connsiteX14" fmla="*/ 1041400 w 4187841"/>
              <a:gd name="connsiteY14" fmla="*/ 574675 h 4416425"/>
              <a:gd name="connsiteX0" fmla="*/ 1041400 w 4200656"/>
              <a:gd name="connsiteY0" fmla="*/ 574675 h 4416425"/>
              <a:gd name="connsiteX1" fmla="*/ 1361829 w 4200656"/>
              <a:gd name="connsiteY1" fmla="*/ 190501 h 4416425"/>
              <a:gd name="connsiteX2" fmla="*/ 1888879 w 4200656"/>
              <a:gd name="connsiteY2" fmla="*/ 0 h 4416425"/>
              <a:gd name="connsiteX3" fmla="*/ 2225675 w 4200656"/>
              <a:gd name="connsiteY3" fmla="*/ 47625 h 4416425"/>
              <a:gd name="connsiteX4" fmla="*/ 2574679 w 4200656"/>
              <a:gd name="connsiteY4" fmla="*/ 279401 h 4416425"/>
              <a:gd name="connsiteX5" fmla="*/ 3362079 w 4200656"/>
              <a:gd name="connsiteY5" fmla="*/ 1066800 h 4416425"/>
              <a:gd name="connsiteX6" fmla="*/ 3876430 w 4200656"/>
              <a:gd name="connsiteY6" fmla="*/ 1714501 h 4416425"/>
              <a:gd name="connsiteX7" fmla="*/ 4187580 w 4200656"/>
              <a:gd name="connsiteY7" fmla="*/ 2279651 h 4416425"/>
              <a:gd name="connsiteX8" fmla="*/ 3441700 w 4200656"/>
              <a:gd name="connsiteY8" fmla="*/ 3448050 h 4416425"/>
              <a:gd name="connsiteX9" fmla="*/ 2422525 w 4200656"/>
              <a:gd name="connsiteY9" fmla="*/ 4416425 h 4416425"/>
              <a:gd name="connsiteX10" fmla="*/ 0 w 4200656"/>
              <a:gd name="connsiteY10" fmla="*/ 4416425 h 4416425"/>
              <a:gd name="connsiteX11" fmla="*/ 1590675 w 4200656"/>
              <a:gd name="connsiteY11" fmla="*/ 2901950 h 4416425"/>
              <a:gd name="connsiteX12" fmla="*/ 1825379 w 4200656"/>
              <a:gd name="connsiteY12" fmla="*/ 2203451 h 4416425"/>
              <a:gd name="connsiteX13" fmla="*/ 1647579 w 4200656"/>
              <a:gd name="connsiteY13" fmla="*/ 1739901 h 4416425"/>
              <a:gd name="connsiteX14" fmla="*/ 1355479 w 4200656"/>
              <a:gd name="connsiteY14" fmla="*/ 1460501 h 4416425"/>
              <a:gd name="connsiteX15" fmla="*/ 1041400 w 4200656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3672"/>
              <a:gd name="connsiteY0" fmla="*/ 574675 h 4416425"/>
              <a:gd name="connsiteX1" fmla="*/ 1361829 w 4203672"/>
              <a:gd name="connsiteY1" fmla="*/ 190501 h 4416425"/>
              <a:gd name="connsiteX2" fmla="*/ 1888879 w 4203672"/>
              <a:gd name="connsiteY2" fmla="*/ 0 h 4416425"/>
              <a:gd name="connsiteX3" fmla="*/ 2225675 w 4203672"/>
              <a:gd name="connsiteY3" fmla="*/ 47625 h 4416425"/>
              <a:gd name="connsiteX4" fmla="*/ 2574679 w 4203672"/>
              <a:gd name="connsiteY4" fmla="*/ 279401 h 4416425"/>
              <a:gd name="connsiteX5" fmla="*/ 3362079 w 4203672"/>
              <a:gd name="connsiteY5" fmla="*/ 1066800 h 4416425"/>
              <a:gd name="connsiteX6" fmla="*/ 3952630 w 4203672"/>
              <a:gd name="connsiteY6" fmla="*/ 1663701 h 4416425"/>
              <a:gd name="connsiteX7" fmla="*/ 4187580 w 4203672"/>
              <a:gd name="connsiteY7" fmla="*/ 2279651 h 4416425"/>
              <a:gd name="connsiteX8" fmla="*/ 3441700 w 4203672"/>
              <a:gd name="connsiteY8" fmla="*/ 3448050 h 4416425"/>
              <a:gd name="connsiteX9" fmla="*/ 2422525 w 4203672"/>
              <a:gd name="connsiteY9" fmla="*/ 4416425 h 4416425"/>
              <a:gd name="connsiteX10" fmla="*/ 0 w 4203672"/>
              <a:gd name="connsiteY10" fmla="*/ 4416425 h 4416425"/>
              <a:gd name="connsiteX11" fmla="*/ 1590675 w 4203672"/>
              <a:gd name="connsiteY11" fmla="*/ 2901950 h 4416425"/>
              <a:gd name="connsiteX12" fmla="*/ 1825379 w 4203672"/>
              <a:gd name="connsiteY12" fmla="*/ 2203451 h 4416425"/>
              <a:gd name="connsiteX13" fmla="*/ 1647579 w 4203672"/>
              <a:gd name="connsiteY13" fmla="*/ 1739901 h 4416425"/>
              <a:gd name="connsiteX14" fmla="*/ 1355479 w 4203672"/>
              <a:gd name="connsiteY14" fmla="*/ 1460501 h 4416425"/>
              <a:gd name="connsiteX15" fmla="*/ 1041400 w 4203672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441700 w 4191105"/>
              <a:gd name="connsiteY8" fmla="*/ 3448050 h 4416425"/>
              <a:gd name="connsiteX9" fmla="*/ 2422525 w 4191105"/>
              <a:gd name="connsiteY9" fmla="*/ 4416425 h 4416425"/>
              <a:gd name="connsiteX10" fmla="*/ 0 w 4191105"/>
              <a:gd name="connsiteY10" fmla="*/ 4416425 h 4416425"/>
              <a:gd name="connsiteX11" fmla="*/ 1590675 w 4191105"/>
              <a:gd name="connsiteY11" fmla="*/ 2901950 h 4416425"/>
              <a:gd name="connsiteX12" fmla="*/ 1825379 w 4191105"/>
              <a:gd name="connsiteY12" fmla="*/ 2203451 h 4416425"/>
              <a:gd name="connsiteX13" fmla="*/ 1647579 w 4191105"/>
              <a:gd name="connsiteY13" fmla="*/ 1739901 h 4416425"/>
              <a:gd name="connsiteX14" fmla="*/ 1355479 w 4191105"/>
              <a:gd name="connsiteY14" fmla="*/ 1460501 h 4416425"/>
              <a:gd name="connsiteX15" fmla="*/ 1041400 w 4191105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971680 w 4191105"/>
              <a:gd name="connsiteY8" fmla="*/ 27432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4035180 w 4191105"/>
              <a:gd name="connsiteY8" fmla="*/ 28194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838278 w 3172386"/>
              <a:gd name="connsiteY12" fmla="*/ 418465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393778 w 3172386"/>
              <a:gd name="connsiteY13" fmla="*/ 385445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996 w 3163824"/>
              <a:gd name="connsiteY0" fmla="*/ 633232 h 4575175"/>
              <a:gd name="connsiteX1" fmla="*/ 334416 w 3163824"/>
              <a:gd name="connsiteY1" fmla="*/ 190501 h 4575175"/>
              <a:gd name="connsiteX2" fmla="*/ 861466 w 3163824"/>
              <a:gd name="connsiteY2" fmla="*/ 0 h 4575175"/>
              <a:gd name="connsiteX3" fmla="*/ 1198262 w 3163824"/>
              <a:gd name="connsiteY3" fmla="*/ 47625 h 4575175"/>
              <a:gd name="connsiteX4" fmla="*/ 1547266 w 3163824"/>
              <a:gd name="connsiteY4" fmla="*/ 279401 h 4575175"/>
              <a:gd name="connsiteX5" fmla="*/ 2334666 w 3163824"/>
              <a:gd name="connsiteY5" fmla="*/ 1066800 h 4575175"/>
              <a:gd name="connsiteX6" fmla="*/ 2925217 w 3163824"/>
              <a:gd name="connsiteY6" fmla="*/ 1663701 h 4575175"/>
              <a:gd name="connsiteX7" fmla="*/ 3160167 w 3163824"/>
              <a:gd name="connsiteY7" fmla="*/ 2279651 h 4575175"/>
              <a:gd name="connsiteX8" fmla="*/ 2950617 w 3163824"/>
              <a:gd name="connsiteY8" fmla="*/ 2882901 h 4575175"/>
              <a:gd name="connsiteX9" fmla="*/ 2414287 w 3163824"/>
              <a:gd name="connsiteY9" fmla="*/ 3448050 h 4575175"/>
              <a:gd name="connsiteX10" fmla="*/ 1395112 w 3163824"/>
              <a:gd name="connsiteY10" fmla="*/ 4416425 h 4575175"/>
              <a:gd name="connsiteX11" fmla="*/ 915687 w 3163824"/>
              <a:gd name="connsiteY11" fmla="*/ 4575175 h 4575175"/>
              <a:gd name="connsiteX12" fmla="*/ 315366 w 3163824"/>
              <a:gd name="connsiteY12" fmla="*/ 4292601 h 4575175"/>
              <a:gd name="connsiteX13" fmla="*/ 67716 w 3163824"/>
              <a:gd name="connsiteY13" fmla="*/ 3822701 h 4575175"/>
              <a:gd name="connsiteX14" fmla="*/ 213766 w 3163824"/>
              <a:gd name="connsiteY14" fmla="*/ 3309938 h 4575175"/>
              <a:gd name="connsiteX15" fmla="*/ 563262 w 3163824"/>
              <a:gd name="connsiteY15" fmla="*/ 2901950 h 4575175"/>
              <a:gd name="connsiteX16" fmla="*/ 797966 w 3163824"/>
              <a:gd name="connsiteY16" fmla="*/ 2203451 h 4575175"/>
              <a:gd name="connsiteX17" fmla="*/ 620166 w 3163824"/>
              <a:gd name="connsiteY17" fmla="*/ 1739901 h 4575175"/>
              <a:gd name="connsiteX18" fmla="*/ 328066 w 3163824"/>
              <a:gd name="connsiteY18" fmla="*/ 1460501 h 4575175"/>
              <a:gd name="connsiteX19" fmla="*/ 22996 w 3163824"/>
              <a:gd name="connsiteY19" fmla="*/ 633232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597196 w 3172385"/>
              <a:gd name="connsiteY17" fmla="*/ 179395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332 w 3172169"/>
              <a:gd name="connsiteY0" fmla="*/ 606206 h 4575175"/>
              <a:gd name="connsiteX1" fmla="*/ 342761 w 3172169"/>
              <a:gd name="connsiteY1" fmla="*/ 190501 h 4575175"/>
              <a:gd name="connsiteX2" fmla="*/ 869811 w 3172169"/>
              <a:gd name="connsiteY2" fmla="*/ 0 h 4575175"/>
              <a:gd name="connsiteX3" fmla="*/ 1206607 w 3172169"/>
              <a:gd name="connsiteY3" fmla="*/ 47625 h 4575175"/>
              <a:gd name="connsiteX4" fmla="*/ 1555611 w 3172169"/>
              <a:gd name="connsiteY4" fmla="*/ 279401 h 4575175"/>
              <a:gd name="connsiteX5" fmla="*/ 2343011 w 3172169"/>
              <a:gd name="connsiteY5" fmla="*/ 1066800 h 4575175"/>
              <a:gd name="connsiteX6" fmla="*/ 2933562 w 3172169"/>
              <a:gd name="connsiteY6" fmla="*/ 1663701 h 4575175"/>
              <a:gd name="connsiteX7" fmla="*/ 3168512 w 3172169"/>
              <a:gd name="connsiteY7" fmla="*/ 2279651 h 4575175"/>
              <a:gd name="connsiteX8" fmla="*/ 2958962 w 3172169"/>
              <a:gd name="connsiteY8" fmla="*/ 2882901 h 4575175"/>
              <a:gd name="connsiteX9" fmla="*/ 2422632 w 3172169"/>
              <a:gd name="connsiteY9" fmla="*/ 3448050 h 4575175"/>
              <a:gd name="connsiteX10" fmla="*/ 1403457 w 3172169"/>
              <a:gd name="connsiteY10" fmla="*/ 4416425 h 4575175"/>
              <a:gd name="connsiteX11" fmla="*/ 924032 w 3172169"/>
              <a:gd name="connsiteY11" fmla="*/ 4575175 h 4575175"/>
              <a:gd name="connsiteX12" fmla="*/ 323711 w 3172169"/>
              <a:gd name="connsiteY12" fmla="*/ 4292601 h 4575175"/>
              <a:gd name="connsiteX13" fmla="*/ 76061 w 3172169"/>
              <a:gd name="connsiteY13" fmla="*/ 3822701 h 4575175"/>
              <a:gd name="connsiteX14" fmla="*/ 222111 w 3172169"/>
              <a:gd name="connsiteY14" fmla="*/ 3309938 h 4575175"/>
              <a:gd name="connsiteX15" fmla="*/ 571607 w 3172169"/>
              <a:gd name="connsiteY15" fmla="*/ 2901950 h 4575175"/>
              <a:gd name="connsiteX16" fmla="*/ 806311 w 3172169"/>
              <a:gd name="connsiteY16" fmla="*/ 2203451 h 4575175"/>
              <a:gd name="connsiteX17" fmla="*/ 633015 w 3172169"/>
              <a:gd name="connsiteY17" fmla="*/ 1753414 h 4575175"/>
              <a:gd name="connsiteX18" fmla="*/ 340915 w 3172169"/>
              <a:gd name="connsiteY18" fmla="*/ 1469510 h 4575175"/>
              <a:gd name="connsiteX19" fmla="*/ 22332 w 3172169"/>
              <a:gd name="connsiteY19" fmla="*/ 606206 h 4575175"/>
              <a:gd name="connsiteX0" fmla="*/ 22747 w 3172584"/>
              <a:gd name="connsiteY0" fmla="*/ 606206 h 4575175"/>
              <a:gd name="connsiteX1" fmla="*/ 343176 w 3172584"/>
              <a:gd name="connsiteY1" fmla="*/ 190501 h 4575175"/>
              <a:gd name="connsiteX2" fmla="*/ 870226 w 3172584"/>
              <a:gd name="connsiteY2" fmla="*/ 0 h 4575175"/>
              <a:gd name="connsiteX3" fmla="*/ 1207022 w 3172584"/>
              <a:gd name="connsiteY3" fmla="*/ 47625 h 4575175"/>
              <a:gd name="connsiteX4" fmla="*/ 1556026 w 3172584"/>
              <a:gd name="connsiteY4" fmla="*/ 279401 h 4575175"/>
              <a:gd name="connsiteX5" fmla="*/ 2343426 w 3172584"/>
              <a:gd name="connsiteY5" fmla="*/ 1066800 h 4575175"/>
              <a:gd name="connsiteX6" fmla="*/ 2933977 w 3172584"/>
              <a:gd name="connsiteY6" fmla="*/ 1663701 h 4575175"/>
              <a:gd name="connsiteX7" fmla="*/ 3168927 w 3172584"/>
              <a:gd name="connsiteY7" fmla="*/ 2279651 h 4575175"/>
              <a:gd name="connsiteX8" fmla="*/ 2959377 w 3172584"/>
              <a:gd name="connsiteY8" fmla="*/ 2882901 h 4575175"/>
              <a:gd name="connsiteX9" fmla="*/ 2423047 w 3172584"/>
              <a:gd name="connsiteY9" fmla="*/ 3448050 h 4575175"/>
              <a:gd name="connsiteX10" fmla="*/ 1403872 w 3172584"/>
              <a:gd name="connsiteY10" fmla="*/ 4416425 h 4575175"/>
              <a:gd name="connsiteX11" fmla="*/ 924447 w 3172584"/>
              <a:gd name="connsiteY11" fmla="*/ 4575175 h 4575175"/>
              <a:gd name="connsiteX12" fmla="*/ 324126 w 3172584"/>
              <a:gd name="connsiteY12" fmla="*/ 4292601 h 4575175"/>
              <a:gd name="connsiteX13" fmla="*/ 76476 w 3172584"/>
              <a:gd name="connsiteY13" fmla="*/ 3822701 h 4575175"/>
              <a:gd name="connsiteX14" fmla="*/ 222526 w 3172584"/>
              <a:gd name="connsiteY14" fmla="*/ 3309938 h 4575175"/>
              <a:gd name="connsiteX15" fmla="*/ 572022 w 3172584"/>
              <a:gd name="connsiteY15" fmla="*/ 2901950 h 4575175"/>
              <a:gd name="connsiteX16" fmla="*/ 806726 w 3172584"/>
              <a:gd name="connsiteY16" fmla="*/ 2203451 h 4575175"/>
              <a:gd name="connsiteX17" fmla="*/ 633430 w 3172584"/>
              <a:gd name="connsiteY17" fmla="*/ 1753414 h 4575175"/>
              <a:gd name="connsiteX18" fmla="*/ 341330 w 3172584"/>
              <a:gd name="connsiteY18" fmla="*/ 1469510 h 4575175"/>
              <a:gd name="connsiteX19" fmla="*/ 22747 w 3172584"/>
              <a:gd name="connsiteY19" fmla="*/ 606206 h 4575175"/>
              <a:gd name="connsiteX0" fmla="*/ 21541 w 3171378"/>
              <a:gd name="connsiteY0" fmla="*/ 606206 h 4575175"/>
              <a:gd name="connsiteX1" fmla="*/ 341970 w 3171378"/>
              <a:gd name="connsiteY1" fmla="*/ 190501 h 4575175"/>
              <a:gd name="connsiteX2" fmla="*/ 869020 w 3171378"/>
              <a:gd name="connsiteY2" fmla="*/ 0 h 4575175"/>
              <a:gd name="connsiteX3" fmla="*/ 1205816 w 3171378"/>
              <a:gd name="connsiteY3" fmla="*/ 47625 h 4575175"/>
              <a:gd name="connsiteX4" fmla="*/ 1554820 w 3171378"/>
              <a:gd name="connsiteY4" fmla="*/ 279401 h 4575175"/>
              <a:gd name="connsiteX5" fmla="*/ 2342220 w 3171378"/>
              <a:gd name="connsiteY5" fmla="*/ 1066800 h 4575175"/>
              <a:gd name="connsiteX6" fmla="*/ 2932771 w 3171378"/>
              <a:gd name="connsiteY6" fmla="*/ 1663701 h 4575175"/>
              <a:gd name="connsiteX7" fmla="*/ 3167721 w 3171378"/>
              <a:gd name="connsiteY7" fmla="*/ 2279651 h 4575175"/>
              <a:gd name="connsiteX8" fmla="*/ 2958171 w 3171378"/>
              <a:gd name="connsiteY8" fmla="*/ 2882901 h 4575175"/>
              <a:gd name="connsiteX9" fmla="*/ 2421841 w 3171378"/>
              <a:gd name="connsiteY9" fmla="*/ 3448050 h 4575175"/>
              <a:gd name="connsiteX10" fmla="*/ 1402666 w 3171378"/>
              <a:gd name="connsiteY10" fmla="*/ 4416425 h 4575175"/>
              <a:gd name="connsiteX11" fmla="*/ 923241 w 3171378"/>
              <a:gd name="connsiteY11" fmla="*/ 4575175 h 4575175"/>
              <a:gd name="connsiteX12" fmla="*/ 322920 w 3171378"/>
              <a:gd name="connsiteY12" fmla="*/ 4292601 h 4575175"/>
              <a:gd name="connsiteX13" fmla="*/ 75270 w 3171378"/>
              <a:gd name="connsiteY13" fmla="*/ 3822701 h 4575175"/>
              <a:gd name="connsiteX14" fmla="*/ 221320 w 3171378"/>
              <a:gd name="connsiteY14" fmla="*/ 3309938 h 4575175"/>
              <a:gd name="connsiteX15" fmla="*/ 570816 w 3171378"/>
              <a:gd name="connsiteY15" fmla="*/ 2901950 h 4575175"/>
              <a:gd name="connsiteX16" fmla="*/ 805520 w 3171378"/>
              <a:gd name="connsiteY16" fmla="*/ 2203451 h 4575175"/>
              <a:gd name="connsiteX17" fmla="*/ 632224 w 3171378"/>
              <a:gd name="connsiteY17" fmla="*/ 1753414 h 4575175"/>
              <a:gd name="connsiteX18" fmla="*/ 340124 w 3171378"/>
              <a:gd name="connsiteY18" fmla="*/ 1469510 h 4575175"/>
              <a:gd name="connsiteX19" fmla="*/ 21541 w 3171378"/>
              <a:gd name="connsiteY19" fmla="*/ 606206 h 4575175"/>
              <a:gd name="connsiteX0" fmla="*/ 7707 w 3157544"/>
              <a:gd name="connsiteY0" fmla="*/ 606206 h 4575175"/>
              <a:gd name="connsiteX1" fmla="*/ 328136 w 3157544"/>
              <a:gd name="connsiteY1" fmla="*/ 190501 h 4575175"/>
              <a:gd name="connsiteX2" fmla="*/ 855186 w 3157544"/>
              <a:gd name="connsiteY2" fmla="*/ 0 h 4575175"/>
              <a:gd name="connsiteX3" fmla="*/ 1191982 w 3157544"/>
              <a:gd name="connsiteY3" fmla="*/ 47625 h 4575175"/>
              <a:gd name="connsiteX4" fmla="*/ 1540986 w 3157544"/>
              <a:gd name="connsiteY4" fmla="*/ 279401 h 4575175"/>
              <a:gd name="connsiteX5" fmla="*/ 2328386 w 3157544"/>
              <a:gd name="connsiteY5" fmla="*/ 1066800 h 4575175"/>
              <a:gd name="connsiteX6" fmla="*/ 2918937 w 3157544"/>
              <a:gd name="connsiteY6" fmla="*/ 1663701 h 4575175"/>
              <a:gd name="connsiteX7" fmla="*/ 3153887 w 3157544"/>
              <a:gd name="connsiteY7" fmla="*/ 2279651 h 4575175"/>
              <a:gd name="connsiteX8" fmla="*/ 2944337 w 3157544"/>
              <a:gd name="connsiteY8" fmla="*/ 2882901 h 4575175"/>
              <a:gd name="connsiteX9" fmla="*/ 2408007 w 3157544"/>
              <a:gd name="connsiteY9" fmla="*/ 3448050 h 4575175"/>
              <a:gd name="connsiteX10" fmla="*/ 1388832 w 3157544"/>
              <a:gd name="connsiteY10" fmla="*/ 4416425 h 4575175"/>
              <a:gd name="connsiteX11" fmla="*/ 909407 w 3157544"/>
              <a:gd name="connsiteY11" fmla="*/ 4575175 h 4575175"/>
              <a:gd name="connsiteX12" fmla="*/ 309086 w 3157544"/>
              <a:gd name="connsiteY12" fmla="*/ 4292601 h 4575175"/>
              <a:gd name="connsiteX13" fmla="*/ 61436 w 3157544"/>
              <a:gd name="connsiteY13" fmla="*/ 3822701 h 4575175"/>
              <a:gd name="connsiteX14" fmla="*/ 207486 w 3157544"/>
              <a:gd name="connsiteY14" fmla="*/ 3309938 h 4575175"/>
              <a:gd name="connsiteX15" fmla="*/ 556982 w 3157544"/>
              <a:gd name="connsiteY15" fmla="*/ 2901950 h 4575175"/>
              <a:gd name="connsiteX16" fmla="*/ 791686 w 3157544"/>
              <a:gd name="connsiteY16" fmla="*/ 2203451 h 4575175"/>
              <a:gd name="connsiteX17" fmla="*/ 618390 w 3157544"/>
              <a:gd name="connsiteY17" fmla="*/ 1753414 h 4575175"/>
              <a:gd name="connsiteX18" fmla="*/ 326290 w 3157544"/>
              <a:gd name="connsiteY18" fmla="*/ 1469510 h 4575175"/>
              <a:gd name="connsiteX19" fmla="*/ 118243 w 3157544"/>
              <a:gd name="connsiteY19" fmla="*/ 1272964 h 4575175"/>
              <a:gd name="connsiteX20" fmla="*/ 7707 w 3157544"/>
              <a:gd name="connsiteY20" fmla="*/ 606206 h 4575175"/>
              <a:gd name="connsiteX0" fmla="*/ 7180 w 3157017"/>
              <a:gd name="connsiteY0" fmla="*/ 606206 h 4575175"/>
              <a:gd name="connsiteX1" fmla="*/ 327609 w 3157017"/>
              <a:gd name="connsiteY1" fmla="*/ 190501 h 4575175"/>
              <a:gd name="connsiteX2" fmla="*/ 854659 w 3157017"/>
              <a:gd name="connsiteY2" fmla="*/ 0 h 4575175"/>
              <a:gd name="connsiteX3" fmla="*/ 1191455 w 3157017"/>
              <a:gd name="connsiteY3" fmla="*/ 47625 h 4575175"/>
              <a:gd name="connsiteX4" fmla="*/ 1540459 w 3157017"/>
              <a:gd name="connsiteY4" fmla="*/ 279401 h 4575175"/>
              <a:gd name="connsiteX5" fmla="*/ 2327859 w 3157017"/>
              <a:gd name="connsiteY5" fmla="*/ 1066800 h 4575175"/>
              <a:gd name="connsiteX6" fmla="*/ 2918410 w 3157017"/>
              <a:gd name="connsiteY6" fmla="*/ 1663701 h 4575175"/>
              <a:gd name="connsiteX7" fmla="*/ 3153360 w 3157017"/>
              <a:gd name="connsiteY7" fmla="*/ 2279651 h 4575175"/>
              <a:gd name="connsiteX8" fmla="*/ 2943810 w 3157017"/>
              <a:gd name="connsiteY8" fmla="*/ 2882901 h 4575175"/>
              <a:gd name="connsiteX9" fmla="*/ 2407480 w 3157017"/>
              <a:gd name="connsiteY9" fmla="*/ 3448050 h 4575175"/>
              <a:gd name="connsiteX10" fmla="*/ 1388305 w 3157017"/>
              <a:gd name="connsiteY10" fmla="*/ 4416425 h 4575175"/>
              <a:gd name="connsiteX11" fmla="*/ 908880 w 3157017"/>
              <a:gd name="connsiteY11" fmla="*/ 4575175 h 4575175"/>
              <a:gd name="connsiteX12" fmla="*/ 308559 w 3157017"/>
              <a:gd name="connsiteY12" fmla="*/ 4292601 h 4575175"/>
              <a:gd name="connsiteX13" fmla="*/ 60909 w 3157017"/>
              <a:gd name="connsiteY13" fmla="*/ 3822701 h 4575175"/>
              <a:gd name="connsiteX14" fmla="*/ 206959 w 3157017"/>
              <a:gd name="connsiteY14" fmla="*/ 3309938 h 4575175"/>
              <a:gd name="connsiteX15" fmla="*/ 556455 w 3157017"/>
              <a:gd name="connsiteY15" fmla="*/ 2901950 h 4575175"/>
              <a:gd name="connsiteX16" fmla="*/ 791159 w 3157017"/>
              <a:gd name="connsiteY16" fmla="*/ 2203451 h 4575175"/>
              <a:gd name="connsiteX17" fmla="*/ 617863 w 3157017"/>
              <a:gd name="connsiteY17" fmla="*/ 1753414 h 4575175"/>
              <a:gd name="connsiteX18" fmla="*/ 325763 w 3157017"/>
              <a:gd name="connsiteY18" fmla="*/ 1469510 h 4575175"/>
              <a:gd name="connsiteX19" fmla="*/ 126725 w 3157017"/>
              <a:gd name="connsiteY19" fmla="*/ 1245938 h 4575175"/>
              <a:gd name="connsiteX20" fmla="*/ 7180 w 3157017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20915 w 3174640"/>
              <a:gd name="connsiteY16" fmla="*/ 2583755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3174640" h="4575175">
                <a:moveTo>
                  <a:pt x="24803" y="606206"/>
                </a:moveTo>
                <a:cubicBezTo>
                  <a:pt x="125263" y="342139"/>
                  <a:pt x="225722" y="286809"/>
                  <a:pt x="345232" y="190501"/>
                </a:cubicBezTo>
                <a:cubicBezTo>
                  <a:pt x="609815" y="6351"/>
                  <a:pt x="747399" y="19050"/>
                  <a:pt x="872282" y="0"/>
                </a:cubicBezTo>
                <a:cubicBezTo>
                  <a:pt x="1009947" y="3175"/>
                  <a:pt x="1103163" y="6350"/>
                  <a:pt x="1209078" y="47625"/>
                </a:cubicBezTo>
                <a:cubicBezTo>
                  <a:pt x="1323378" y="97367"/>
                  <a:pt x="1368681" y="109539"/>
                  <a:pt x="1558082" y="279401"/>
                </a:cubicBezTo>
                <a:cubicBezTo>
                  <a:pt x="1664933" y="385763"/>
                  <a:pt x="2023179" y="738717"/>
                  <a:pt x="2345482" y="1066800"/>
                </a:cubicBezTo>
                <a:cubicBezTo>
                  <a:pt x="2562441" y="1305983"/>
                  <a:pt x="2792100" y="1499659"/>
                  <a:pt x="2936033" y="1663701"/>
                </a:cubicBezTo>
                <a:cubicBezTo>
                  <a:pt x="3060916" y="1821393"/>
                  <a:pt x="3198988" y="1990726"/>
                  <a:pt x="3170983" y="2279651"/>
                </a:cubicBezTo>
                <a:cubicBezTo>
                  <a:pt x="3174158" y="2459568"/>
                  <a:pt x="3130196" y="2656418"/>
                  <a:pt x="2961433" y="2882901"/>
                </a:cubicBezTo>
                <a:cubicBezTo>
                  <a:pt x="2779970" y="3083984"/>
                  <a:pt x="2683296" y="3169179"/>
                  <a:pt x="2425103" y="3448050"/>
                </a:cubicBezTo>
                <a:cubicBezTo>
                  <a:pt x="2085378" y="3770842"/>
                  <a:pt x="1577456" y="4305248"/>
                  <a:pt x="1423945" y="4416425"/>
                </a:cubicBezTo>
                <a:cubicBezTo>
                  <a:pt x="1264137" y="4513792"/>
                  <a:pt x="1117091" y="4570994"/>
                  <a:pt x="926503" y="4575175"/>
                </a:cubicBezTo>
                <a:cubicBezTo>
                  <a:pt x="760586" y="4565974"/>
                  <a:pt x="551689" y="4513792"/>
                  <a:pt x="326182" y="4292601"/>
                </a:cubicBezTo>
                <a:cubicBezTo>
                  <a:pt x="224582" y="4167718"/>
                  <a:pt x="95142" y="3979991"/>
                  <a:pt x="87541" y="3831710"/>
                </a:cubicBezTo>
                <a:cubicBezTo>
                  <a:pt x="74028" y="3613139"/>
                  <a:pt x="142032" y="3466042"/>
                  <a:pt x="224582" y="3309938"/>
                </a:cubicBezTo>
                <a:cubicBezTo>
                  <a:pt x="366481" y="3129492"/>
                  <a:pt x="387729" y="3095096"/>
                  <a:pt x="574078" y="2901950"/>
                </a:cubicBezTo>
                <a:cubicBezTo>
                  <a:pt x="656800" y="2780920"/>
                  <a:pt x="692307" y="2737709"/>
                  <a:pt x="747941" y="2592764"/>
                </a:cubicBezTo>
                <a:cubicBezTo>
                  <a:pt x="772043" y="2492863"/>
                  <a:pt x="805002" y="2386884"/>
                  <a:pt x="799773" y="2221468"/>
                </a:cubicBezTo>
                <a:cubicBezTo>
                  <a:pt x="779744" y="1998341"/>
                  <a:pt x="738660" y="1938002"/>
                  <a:pt x="635486" y="1753414"/>
                </a:cubicBezTo>
                <a:cubicBezTo>
                  <a:pt x="563645" y="1664785"/>
                  <a:pt x="442254" y="1567148"/>
                  <a:pt x="343386" y="1469510"/>
                </a:cubicBezTo>
                <a:cubicBezTo>
                  <a:pt x="260028" y="1389435"/>
                  <a:pt x="251498" y="1394326"/>
                  <a:pt x="144348" y="1245938"/>
                </a:cubicBezTo>
                <a:cubicBezTo>
                  <a:pt x="-34873" y="1025479"/>
                  <a:pt x="-10179" y="786616"/>
                  <a:pt x="24803" y="606206"/>
                </a:cubicBezTo>
                <a:close/>
              </a:path>
            </a:pathLst>
          </a:custGeom>
          <a:solidFill>
            <a:schemeClr val="bg1">
              <a:lumMod val="50000"/>
              <a:alpha val="73000"/>
            </a:schemeClr>
          </a:solidFill>
          <a:effectLst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93100298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val 12">
            <a:extLst>
              <a:ext uri="{FF2B5EF4-FFF2-40B4-BE49-F238E27FC236}">
                <a16:creationId xmlns:a16="http://schemas.microsoft.com/office/drawing/2014/main" xmlns="" id="{4B6B078F-6B5B-4649-88CA-4457B64650BC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xmlns="" id="{5AEDA168-4692-CA42-BBA4-95BEA61E2029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xmlns="" id="{01B1B357-5070-E64B-B2AB-C7A6C8B0EA88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xmlns="" id="{37CDEDFB-DE1D-2548-81F8-5F67B8B5B0A4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xmlns="" id="{EB120519-01C4-DF4A-9C1A-EF81D2EAD132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xmlns="" id="{1C268B67-8824-404D-90A8-5FC453F23DD8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9C99406D-50EC-C74A-BE89-235970598E07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Text color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xmlns="" id="{168DB5F2-1918-AD47-B02B-3F1311BB9011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A97B3ABF-B225-9240-BE8E-E95B0968FFBD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Brand color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49B81795-551B-B14E-B662-85CFEDDA1217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mplimentary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lors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xmlns="" id="{22F86A84-7A97-CB4F-A201-A6175D151B49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45751" cy="225709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xmlns="" id="{CE0893C3-D2C2-EF40-9EEA-7C9E376E5D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1799" y="6605588"/>
            <a:ext cx="2774338" cy="2801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xmlns="" id="{51FDC2C6-A8FE-6746-A135-C26E230B994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219950" y="963290"/>
            <a:ext cx="3421832" cy="4931420"/>
          </a:xfrm>
          <a:custGeom>
            <a:avLst/>
            <a:gdLst>
              <a:gd name="connsiteX0" fmla="*/ 0 w 4552950"/>
              <a:gd name="connsiteY0" fmla="*/ 0 h 4260850"/>
              <a:gd name="connsiteX1" fmla="*/ 2422525 w 4552950"/>
              <a:gd name="connsiteY1" fmla="*/ 0 h 4260850"/>
              <a:gd name="connsiteX2" fmla="*/ 4552950 w 4552950"/>
              <a:gd name="connsiteY2" fmla="*/ 2130425 h 4260850"/>
              <a:gd name="connsiteX3" fmla="*/ 2422525 w 4552950"/>
              <a:gd name="connsiteY3" fmla="*/ 4260850 h 4260850"/>
              <a:gd name="connsiteX4" fmla="*/ 0 w 4552950"/>
              <a:gd name="connsiteY4" fmla="*/ 4260850 h 4260850"/>
              <a:gd name="connsiteX5" fmla="*/ 2130425 w 4552950"/>
              <a:gd name="connsiteY5" fmla="*/ 2130425 h 4260850"/>
              <a:gd name="connsiteX6" fmla="*/ 0 w 4552950"/>
              <a:gd name="connsiteY6" fmla="*/ 0 h 426085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76594"/>
              <a:gd name="connsiteY0" fmla="*/ 107950 h 4368800"/>
              <a:gd name="connsiteX1" fmla="*/ 2225675 w 4576594"/>
              <a:gd name="connsiteY1" fmla="*/ 0 h 4368800"/>
              <a:gd name="connsiteX2" fmla="*/ 3482729 w 4576594"/>
              <a:gd name="connsiteY2" fmla="*/ 1184275 h 4368800"/>
              <a:gd name="connsiteX3" fmla="*/ 4552950 w 4576594"/>
              <a:gd name="connsiteY3" fmla="*/ 2238375 h 4368800"/>
              <a:gd name="connsiteX4" fmla="*/ 2422525 w 4576594"/>
              <a:gd name="connsiteY4" fmla="*/ 4368800 h 4368800"/>
              <a:gd name="connsiteX5" fmla="*/ 0 w 4576594"/>
              <a:gd name="connsiteY5" fmla="*/ 4368800 h 4368800"/>
              <a:gd name="connsiteX6" fmla="*/ 2130425 w 4576594"/>
              <a:gd name="connsiteY6" fmla="*/ 2238375 h 4368800"/>
              <a:gd name="connsiteX7" fmla="*/ 0 w 4576594"/>
              <a:gd name="connsiteY7" fmla="*/ 107950 h 4368800"/>
              <a:gd name="connsiteX0" fmla="*/ 0 w 4574056"/>
              <a:gd name="connsiteY0" fmla="*/ 107950 h 4368800"/>
              <a:gd name="connsiteX1" fmla="*/ 2225675 w 4574056"/>
              <a:gd name="connsiteY1" fmla="*/ 0 h 4368800"/>
              <a:gd name="connsiteX2" fmla="*/ 3362079 w 4574056"/>
              <a:gd name="connsiteY2" fmla="*/ 1019175 h 4368800"/>
              <a:gd name="connsiteX3" fmla="*/ 4552950 w 4574056"/>
              <a:gd name="connsiteY3" fmla="*/ 2238375 h 4368800"/>
              <a:gd name="connsiteX4" fmla="*/ 2422525 w 4574056"/>
              <a:gd name="connsiteY4" fmla="*/ 4368800 h 4368800"/>
              <a:gd name="connsiteX5" fmla="*/ 0 w 4574056"/>
              <a:gd name="connsiteY5" fmla="*/ 4368800 h 4368800"/>
              <a:gd name="connsiteX6" fmla="*/ 2130425 w 4574056"/>
              <a:gd name="connsiteY6" fmla="*/ 2238375 h 4368800"/>
              <a:gd name="connsiteX7" fmla="*/ 0 w 4574056"/>
              <a:gd name="connsiteY7" fmla="*/ 107950 h 4368800"/>
              <a:gd name="connsiteX0" fmla="*/ 0 w 4574056"/>
              <a:gd name="connsiteY0" fmla="*/ 107950 h 4368800"/>
              <a:gd name="connsiteX1" fmla="*/ 1946029 w 4574056"/>
              <a:gd name="connsiteY1" fmla="*/ 15875 h 4368800"/>
              <a:gd name="connsiteX2" fmla="*/ 2225675 w 4574056"/>
              <a:gd name="connsiteY2" fmla="*/ 0 h 4368800"/>
              <a:gd name="connsiteX3" fmla="*/ 3362079 w 4574056"/>
              <a:gd name="connsiteY3" fmla="*/ 1019175 h 4368800"/>
              <a:gd name="connsiteX4" fmla="*/ 4552950 w 4574056"/>
              <a:gd name="connsiteY4" fmla="*/ 2238375 h 4368800"/>
              <a:gd name="connsiteX5" fmla="*/ 2422525 w 4574056"/>
              <a:gd name="connsiteY5" fmla="*/ 4368800 h 4368800"/>
              <a:gd name="connsiteX6" fmla="*/ 0 w 4574056"/>
              <a:gd name="connsiteY6" fmla="*/ 4368800 h 4368800"/>
              <a:gd name="connsiteX7" fmla="*/ 2130425 w 4574056"/>
              <a:gd name="connsiteY7" fmla="*/ 2238375 h 4368800"/>
              <a:gd name="connsiteX8" fmla="*/ 0 w 4574056"/>
              <a:gd name="connsiteY8" fmla="*/ 107950 h 4368800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3614049"/>
              <a:gd name="connsiteY0" fmla="*/ 155575 h 4416425"/>
              <a:gd name="connsiteX1" fmla="*/ 1888879 w 3614049"/>
              <a:gd name="connsiteY1" fmla="*/ 0 h 4416425"/>
              <a:gd name="connsiteX2" fmla="*/ 2225675 w 3614049"/>
              <a:gd name="connsiteY2" fmla="*/ 47625 h 4416425"/>
              <a:gd name="connsiteX3" fmla="*/ 3362079 w 3614049"/>
              <a:gd name="connsiteY3" fmla="*/ 1066800 h 4416425"/>
              <a:gd name="connsiteX4" fmla="*/ 3441700 w 3614049"/>
              <a:gd name="connsiteY4" fmla="*/ 3448050 h 4416425"/>
              <a:gd name="connsiteX5" fmla="*/ 2422525 w 3614049"/>
              <a:gd name="connsiteY5" fmla="*/ 4416425 h 4416425"/>
              <a:gd name="connsiteX6" fmla="*/ 0 w 3614049"/>
              <a:gd name="connsiteY6" fmla="*/ 4416425 h 4416425"/>
              <a:gd name="connsiteX7" fmla="*/ 2130425 w 3614049"/>
              <a:gd name="connsiteY7" fmla="*/ 2286000 h 4416425"/>
              <a:gd name="connsiteX8" fmla="*/ 0 w 3614049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2130425 w 4199688"/>
              <a:gd name="connsiteY7" fmla="*/ 228600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831975 w 4199688"/>
              <a:gd name="connsiteY7" fmla="*/ 22796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834779 w 4199688"/>
              <a:gd name="connsiteY8" fmla="*/ 16065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488829 w 4199688"/>
              <a:gd name="connsiteY8" fmla="*/ 15938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526929 w 4199688"/>
              <a:gd name="connsiteY8" fmla="*/ 21907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0 w 4199688"/>
              <a:gd name="connsiteY11" fmla="*/ 1555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476129 w 4199688"/>
              <a:gd name="connsiteY1" fmla="*/ 2794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9845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212151"/>
              <a:gd name="connsiteY0" fmla="*/ 574675 h 4416425"/>
              <a:gd name="connsiteX1" fmla="*/ 1361829 w 4212151"/>
              <a:gd name="connsiteY1" fmla="*/ 190501 h 4416425"/>
              <a:gd name="connsiteX2" fmla="*/ 1888879 w 4212151"/>
              <a:gd name="connsiteY2" fmla="*/ 0 h 4416425"/>
              <a:gd name="connsiteX3" fmla="*/ 2225675 w 4212151"/>
              <a:gd name="connsiteY3" fmla="*/ 47625 h 4416425"/>
              <a:gd name="connsiteX4" fmla="*/ 2574679 w 4212151"/>
              <a:gd name="connsiteY4" fmla="*/ 279401 h 4416425"/>
              <a:gd name="connsiteX5" fmla="*/ 3362079 w 4212151"/>
              <a:gd name="connsiteY5" fmla="*/ 1066800 h 4416425"/>
              <a:gd name="connsiteX6" fmla="*/ 3441700 w 4212151"/>
              <a:gd name="connsiteY6" fmla="*/ 3448050 h 4416425"/>
              <a:gd name="connsiteX7" fmla="*/ 2422525 w 4212151"/>
              <a:gd name="connsiteY7" fmla="*/ 4416425 h 4416425"/>
              <a:gd name="connsiteX8" fmla="*/ 0 w 4212151"/>
              <a:gd name="connsiteY8" fmla="*/ 4416425 h 4416425"/>
              <a:gd name="connsiteX9" fmla="*/ 1590675 w 4212151"/>
              <a:gd name="connsiteY9" fmla="*/ 2901950 h 4416425"/>
              <a:gd name="connsiteX10" fmla="*/ 1825379 w 4212151"/>
              <a:gd name="connsiteY10" fmla="*/ 2203451 h 4416425"/>
              <a:gd name="connsiteX11" fmla="*/ 1647579 w 4212151"/>
              <a:gd name="connsiteY11" fmla="*/ 1739901 h 4416425"/>
              <a:gd name="connsiteX12" fmla="*/ 1355479 w 4212151"/>
              <a:gd name="connsiteY12" fmla="*/ 1460501 h 4416425"/>
              <a:gd name="connsiteX13" fmla="*/ 1041400 w 4212151"/>
              <a:gd name="connsiteY13" fmla="*/ 574675 h 4416425"/>
              <a:gd name="connsiteX0" fmla="*/ 1041400 w 4003839"/>
              <a:gd name="connsiteY0" fmla="*/ 574675 h 4416425"/>
              <a:gd name="connsiteX1" fmla="*/ 1361829 w 4003839"/>
              <a:gd name="connsiteY1" fmla="*/ 190501 h 4416425"/>
              <a:gd name="connsiteX2" fmla="*/ 1888879 w 4003839"/>
              <a:gd name="connsiteY2" fmla="*/ 0 h 4416425"/>
              <a:gd name="connsiteX3" fmla="*/ 2225675 w 4003839"/>
              <a:gd name="connsiteY3" fmla="*/ 47625 h 4416425"/>
              <a:gd name="connsiteX4" fmla="*/ 2574679 w 4003839"/>
              <a:gd name="connsiteY4" fmla="*/ 279401 h 4416425"/>
              <a:gd name="connsiteX5" fmla="*/ 3362079 w 4003839"/>
              <a:gd name="connsiteY5" fmla="*/ 1066800 h 4416425"/>
              <a:gd name="connsiteX6" fmla="*/ 4003430 w 4003839"/>
              <a:gd name="connsiteY6" fmla="*/ 2870201 h 4416425"/>
              <a:gd name="connsiteX7" fmla="*/ 3441700 w 4003839"/>
              <a:gd name="connsiteY7" fmla="*/ 3448050 h 4416425"/>
              <a:gd name="connsiteX8" fmla="*/ 2422525 w 4003839"/>
              <a:gd name="connsiteY8" fmla="*/ 4416425 h 4416425"/>
              <a:gd name="connsiteX9" fmla="*/ 0 w 4003839"/>
              <a:gd name="connsiteY9" fmla="*/ 4416425 h 4416425"/>
              <a:gd name="connsiteX10" fmla="*/ 1590675 w 4003839"/>
              <a:gd name="connsiteY10" fmla="*/ 2901950 h 4416425"/>
              <a:gd name="connsiteX11" fmla="*/ 1825379 w 4003839"/>
              <a:gd name="connsiteY11" fmla="*/ 2203451 h 4416425"/>
              <a:gd name="connsiteX12" fmla="*/ 1647579 w 4003839"/>
              <a:gd name="connsiteY12" fmla="*/ 1739901 h 4416425"/>
              <a:gd name="connsiteX13" fmla="*/ 1355479 w 4003839"/>
              <a:gd name="connsiteY13" fmla="*/ 1460501 h 4416425"/>
              <a:gd name="connsiteX14" fmla="*/ 1041400 w 4003839"/>
              <a:gd name="connsiteY14" fmla="*/ 574675 h 4416425"/>
              <a:gd name="connsiteX0" fmla="*/ 1041400 w 4187841"/>
              <a:gd name="connsiteY0" fmla="*/ 574675 h 4416425"/>
              <a:gd name="connsiteX1" fmla="*/ 1361829 w 4187841"/>
              <a:gd name="connsiteY1" fmla="*/ 190501 h 4416425"/>
              <a:gd name="connsiteX2" fmla="*/ 1888879 w 4187841"/>
              <a:gd name="connsiteY2" fmla="*/ 0 h 4416425"/>
              <a:gd name="connsiteX3" fmla="*/ 2225675 w 4187841"/>
              <a:gd name="connsiteY3" fmla="*/ 47625 h 4416425"/>
              <a:gd name="connsiteX4" fmla="*/ 2574679 w 4187841"/>
              <a:gd name="connsiteY4" fmla="*/ 279401 h 4416425"/>
              <a:gd name="connsiteX5" fmla="*/ 3362079 w 4187841"/>
              <a:gd name="connsiteY5" fmla="*/ 1066800 h 4416425"/>
              <a:gd name="connsiteX6" fmla="*/ 4187580 w 4187841"/>
              <a:gd name="connsiteY6" fmla="*/ 2279651 h 4416425"/>
              <a:gd name="connsiteX7" fmla="*/ 3441700 w 4187841"/>
              <a:gd name="connsiteY7" fmla="*/ 3448050 h 4416425"/>
              <a:gd name="connsiteX8" fmla="*/ 2422525 w 4187841"/>
              <a:gd name="connsiteY8" fmla="*/ 4416425 h 4416425"/>
              <a:gd name="connsiteX9" fmla="*/ 0 w 4187841"/>
              <a:gd name="connsiteY9" fmla="*/ 4416425 h 4416425"/>
              <a:gd name="connsiteX10" fmla="*/ 1590675 w 4187841"/>
              <a:gd name="connsiteY10" fmla="*/ 2901950 h 4416425"/>
              <a:gd name="connsiteX11" fmla="*/ 1825379 w 4187841"/>
              <a:gd name="connsiteY11" fmla="*/ 2203451 h 4416425"/>
              <a:gd name="connsiteX12" fmla="*/ 1647579 w 4187841"/>
              <a:gd name="connsiteY12" fmla="*/ 1739901 h 4416425"/>
              <a:gd name="connsiteX13" fmla="*/ 1355479 w 4187841"/>
              <a:gd name="connsiteY13" fmla="*/ 1460501 h 4416425"/>
              <a:gd name="connsiteX14" fmla="*/ 1041400 w 4187841"/>
              <a:gd name="connsiteY14" fmla="*/ 574675 h 4416425"/>
              <a:gd name="connsiteX0" fmla="*/ 1041400 w 4200656"/>
              <a:gd name="connsiteY0" fmla="*/ 574675 h 4416425"/>
              <a:gd name="connsiteX1" fmla="*/ 1361829 w 4200656"/>
              <a:gd name="connsiteY1" fmla="*/ 190501 h 4416425"/>
              <a:gd name="connsiteX2" fmla="*/ 1888879 w 4200656"/>
              <a:gd name="connsiteY2" fmla="*/ 0 h 4416425"/>
              <a:gd name="connsiteX3" fmla="*/ 2225675 w 4200656"/>
              <a:gd name="connsiteY3" fmla="*/ 47625 h 4416425"/>
              <a:gd name="connsiteX4" fmla="*/ 2574679 w 4200656"/>
              <a:gd name="connsiteY4" fmla="*/ 279401 h 4416425"/>
              <a:gd name="connsiteX5" fmla="*/ 3362079 w 4200656"/>
              <a:gd name="connsiteY5" fmla="*/ 1066800 h 4416425"/>
              <a:gd name="connsiteX6" fmla="*/ 3876430 w 4200656"/>
              <a:gd name="connsiteY6" fmla="*/ 1714501 h 4416425"/>
              <a:gd name="connsiteX7" fmla="*/ 4187580 w 4200656"/>
              <a:gd name="connsiteY7" fmla="*/ 2279651 h 4416425"/>
              <a:gd name="connsiteX8" fmla="*/ 3441700 w 4200656"/>
              <a:gd name="connsiteY8" fmla="*/ 3448050 h 4416425"/>
              <a:gd name="connsiteX9" fmla="*/ 2422525 w 4200656"/>
              <a:gd name="connsiteY9" fmla="*/ 4416425 h 4416425"/>
              <a:gd name="connsiteX10" fmla="*/ 0 w 4200656"/>
              <a:gd name="connsiteY10" fmla="*/ 4416425 h 4416425"/>
              <a:gd name="connsiteX11" fmla="*/ 1590675 w 4200656"/>
              <a:gd name="connsiteY11" fmla="*/ 2901950 h 4416425"/>
              <a:gd name="connsiteX12" fmla="*/ 1825379 w 4200656"/>
              <a:gd name="connsiteY12" fmla="*/ 2203451 h 4416425"/>
              <a:gd name="connsiteX13" fmla="*/ 1647579 w 4200656"/>
              <a:gd name="connsiteY13" fmla="*/ 1739901 h 4416425"/>
              <a:gd name="connsiteX14" fmla="*/ 1355479 w 4200656"/>
              <a:gd name="connsiteY14" fmla="*/ 1460501 h 4416425"/>
              <a:gd name="connsiteX15" fmla="*/ 1041400 w 4200656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3672"/>
              <a:gd name="connsiteY0" fmla="*/ 574675 h 4416425"/>
              <a:gd name="connsiteX1" fmla="*/ 1361829 w 4203672"/>
              <a:gd name="connsiteY1" fmla="*/ 190501 h 4416425"/>
              <a:gd name="connsiteX2" fmla="*/ 1888879 w 4203672"/>
              <a:gd name="connsiteY2" fmla="*/ 0 h 4416425"/>
              <a:gd name="connsiteX3" fmla="*/ 2225675 w 4203672"/>
              <a:gd name="connsiteY3" fmla="*/ 47625 h 4416425"/>
              <a:gd name="connsiteX4" fmla="*/ 2574679 w 4203672"/>
              <a:gd name="connsiteY4" fmla="*/ 279401 h 4416425"/>
              <a:gd name="connsiteX5" fmla="*/ 3362079 w 4203672"/>
              <a:gd name="connsiteY5" fmla="*/ 1066800 h 4416425"/>
              <a:gd name="connsiteX6" fmla="*/ 3952630 w 4203672"/>
              <a:gd name="connsiteY6" fmla="*/ 1663701 h 4416425"/>
              <a:gd name="connsiteX7" fmla="*/ 4187580 w 4203672"/>
              <a:gd name="connsiteY7" fmla="*/ 2279651 h 4416425"/>
              <a:gd name="connsiteX8" fmla="*/ 3441700 w 4203672"/>
              <a:gd name="connsiteY8" fmla="*/ 3448050 h 4416425"/>
              <a:gd name="connsiteX9" fmla="*/ 2422525 w 4203672"/>
              <a:gd name="connsiteY9" fmla="*/ 4416425 h 4416425"/>
              <a:gd name="connsiteX10" fmla="*/ 0 w 4203672"/>
              <a:gd name="connsiteY10" fmla="*/ 4416425 h 4416425"/>
              <a:gd name="connsiteX11" fmla="*/ 1590675 w 4203672"/>
              <a:gd name="connsiteY11" fmla="*/ 2901950 h 4416425"/>
              <a:gd name="connsiteX12" fmla="*/ 1825379 w 4203672"/>
              <a:gd name="connsiteY12" fmla="*/ 2203451 h 4416425"/>
              <a:gd name="connsiteX13" fmla="*/ 1647579 w 4203672"/>
              <a:gd name="connsiteY13" fmla="*/ 1739901 h 4416425"/>
              <a:gd name="connsiteX14" fmla="*/ 1355479 w 4203672"/>
              <a:gd name="connsiteY14" fmla="*/ 1460501 h 4416425"/>
              <a:gd name="connsiteX15" fmla="*/ 1041400 w 4203672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441700 w 4191105"/>
              <a:gd name="connsiteY8" fmla="*/ 3448050 h 4416425"/>
              <a:gd name="connsiteX9" fmla="*/ 2422525 w 4191105"/>
              <a:gd name="connsiteY9" fmla="*/ 4416425 h 4416425"/>
              <a:gd name="connsiteX10" fmla="*/ 0 w 4191105"/>
              <a:gd name="connsiteY10" fmla="*/ 4416425 h 4416425"/>
              <a:gd name="connsiteX11" fmla="*/ 1590675 w 4191105"/>
              <a:gd name="connsiteY11" fmla="*/ 2901950 h 4416425"/>
              <a:gd name="connsiteX12" fmla="*/ 1825379 w 4191105"/>
              <a:gd name="connsiteY12" fmla="*/ 2203451 h 4416425"/>
              <a:gd name="connsiteX13" fmla="*/ 1647579 w 4191105"/>
              <a:gd name="connsiteY13" fmla="*/ 1739901 h 4416425"/>
              <a:gd name="connsiteX14" fmla="*/ 1355479 w 4191105"/>
              <a:gd name="connsiteY14" fmla="*/ 1460501 h 4416425"/>
              <a:gd name="connsiteX15" fmla="*/ 1041400 w 4191105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971680 w 4191105"/>
              <a:gd name="connsiteY8" fmla="*/ 27432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4035180 w 4191105"/>
              <a:gd name="connsiteY8" fmla="*/ 28194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838278 w 3172386"/>
              <a:gd name="connsiteY12" fmla="*/ 418465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393778 w 3172386"/>
              <a:gd name="connsiteY13" fmla="*/ 385445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996 w 3163824"/>
              <a:gd name="connsiteY0" fmla="*/ 633232 h 4575175"/>
              <a:gd name="connsiteX1" fmla="*/ 334416 w 3163824"/>
              <a:gd name="connsiteY1" fmla="*/ 190501 h 4575175"/>
              <a:gd name="connsiteX2" fmla="*/ 861466 w 3163824"/>
              <a:gd name="connsiteY2" fmla="*/ 0 h 4575175"/>
              <a:gd name="connsiteX3" fmla="*/ 1198262 w 3163824"/>
              <a:gd name="connsiteY3" fmla="*/ 47625 h 4575175"/>
              <a:gd name="connsiteX4" fmla="*/ 1547266 w 3163824"/>
              <a:gd name="connsiteY4" fmla="*/ 279401 h 4575175"/>
              <a:gd name="connsiteX5" fmla="*/ 2334666 w 3163824"/>
              <a:gd name="connsiteY5" fmla="*/ 1066800 h 4575175"/>
              <a:gd name="connsiteX6" fmla="*/ 2925217 w 3163824"/>
              <a:gd name="connsiteY6" fmla="*/ 1663701 h 4575175"/>
              <a:gd name="connsiteX7" fmla="*/ 3160167 w 3163824"/>
              <a:gd name="connsiteY7" fmla="*/ 2279651 h 4575175"/>
              <a:gd name="connsiteX8" fmla="*/ 2950617 w 3163824"/>
              <a:gd name="connsiteY8" fmla="*/ 2882901 h 4575175"/>
              <a:gd name="connsiteX9" fmla="*/ 2414287 w 3163824"/>
              <a:gd name="connsiteY9" fmla="*/ 3448050 h 4575175"/>
              <a:gd name="connsiteX10" fmla="*/ 1395112 w 3163824"/>
              <a:gd name="connsiteY10" fmla="*/ 4416425 h 4575175"/>
              <a:gd name="connsiteX11" fmla="*/ 915687 w 3163824"/>
              <a:gd name="connsiteY11" fmla="*/ 4575175 h 4575175"/>
              <a:gd name="connsiteX12" fmla="*/ 315366 w 3163824"/>
              <a:gd name="connsiteY12" fmla="*/ 4292601 h 4575175"/>
              <a:gd name="connsiteX13" fmla="*/ 67716 w 3163824"/>
              <a:gd name="connsiteY13" fmla="*/ 3822701 h 4575175"/>
              <a:gd name="connsiteX14" fmla="*/ 213766 w 3163824"/>
              <a:gd name="connsiteY14" fmla="*/ 3309938 h 4575175"/>
              <a:gd name="connsiteX15" fmla="*/ 563262 w 3163824"/>
              <a:gd name="connsiteY15" fmla="*/ 2901950 h 4575175"/>
              <a:gd name="connsiteX16" fmla="*/ 797966 w 3163824"/>
              <a:gd name="connsiteY16" fmla="*/ 2203451 h 4575175"/>
              <a:gd name="connsiteX17" fmla="*/ 620166 w 3163824"/>
              <a:gd name="connsiteY17" fmla="*/ 1739901 h 4575175"/>
              <a:gd name="connsiteX18" fmla="*/ 328066 w 3163824"/>
              <a:gd name="connsiteY18" fmla="*/ 1460501 h 4575175"/>
              <a:gd name="connsiteX19" fmla="*/ 22996 w 3163824"/>
              <a:gd name="connsiteY19" fmla="*/ 633232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597196 w 3172385"/>
              <a:gd name="connsiteY17" fmla="*/ 179395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332 w 3172169"/>
              <a:gd name="connsiteY0" fmla="*/ 606206 h 4575175"/>
              <a:gd name="connsiteX1" fmla="*/ 342761 w 3172169"/>
              <a:gd name="connsiteY1" fmla="*/ 190501 h 4575175"/>
              <a:gd name="connsiteX2" fmla="*/ 869811 w 3172169"/>
              <a:gd name="connsiteY2" fmla="*/ 0 h 4575175"/>
              <a:gd name="connsiteX3" fmla="*/ 1206607 w 3172169"/>
              <a:gd name="connsiteY3" fmla="*/ 47625 h 4575175"/>
              <a:gd name="connsiteX4" fmla="*/ 1555611 w 3172169"/>
              <a:gd name="connsiteY4" fmla="*/ 279401 h 4575175"/>
              <a:gd name="connsiteX5" fmla="*/ 2343011 w 3172169"/>
              <a:gd name="connsiteY5" fmla="*/ 1066800 h 4575175"/>
              <a:gd name="connsiteX6" fmla="*/ 2933562 w 3172169"/>
              <a:gd name="connsiteY6" fmla="*/ 1663701 h 4575175"/>
              <a:gd name="connsiteX7" fmla="*/ 3168512 w 3172169"/>
              <a:gd name="connsiteY7" fmla="*/ 2279651 h 4575175"/>
              <a:gd name="connsiteX8" fmla="*/ 2958962 w 3172169"/>
              <a:gd name="connsiteY8" fmla="*/ 2882901 h 4575175"/>
              <a:gd name="connsiteX9" fmla="*/ 2422632 w 3172169"/>
              <a:gd name="connsiteY9" fmla="*/ 3448050 h 4575175"/>
              <a:gd name="connsiteX10" fmla="*/ 1403457 w 3172169"/>
              <a:gd name="connsiteY10" fmla="*/ 4416425 h 4575175"/>
              <a:gd name="connsiteX11" fmla="*/ 924032 w 3172169"/>
              <a:gd name="connsiteY11" fmla="*/ 4575175 h 4575175"/>
              <a:gd name="connsiteX12" fmla="*/ 323711 w 3172169"/>
              <a:gd name="connsiteY12" fmla="*/ 4292601 h 4575175"/>
              <a:gd name="connsiteX13" fmla="*/ 76061 w 3172169"/>
              <a:gd name="connsiteY13" fmla="*/ 3822701 h 4575175"/>
              <a:gd name="connsiteX14" fmla="*/ 222111 w 3172169"/>
              <a:gd name="connsiteY14" fmla="*/ 3309938 h 4575175"/>
              <a:gd name="connsiteX15" fmla="*/ 571607 w 3172169"/>
              <a:gd name="connsiteY15" fmla="*/ 2901950 h 4575175"/>
              <a:gd name="connsiteX16" fmla="*/ 806311 w 3172169"/>
              <a:gd name="connsiteY16" fmla="*/ 2203451 h 4575175"/>
              <a:gd name="connsiteX17" fmla="*/ 633015 w 3172169"/>
              <a:gd name="connsiteY17" fmla="*/ 1753414 h 4575175"/>
              <a:gd name="connsiteX18" fmla="*/ 340915 w 3172169"/>
              <a:gd name="connsiteY18" fmla="*/ 1469510 h 4575175"/>
              <a:gd name="connsiteX19" fmla="*/ 22332 w 3172169"/>
              <a:gd name="connsiteY19" fmla="*/ 606206 h 4575175"/>
              <a:gd name="connsiteX0" fmla="*/ 22747 w 3172584"/>
              <a:gd name="connsiteY0" fmla="*/ 606206 h 4575175"/>
              <a:gd name="connsiteX1" fmla="*/ 343176 w 3172584"/>
              <a:gd name="connsiteY1" fmla="*/ 190501 h 4575175"/>
              <a:gd name="connsiteX2" fmla="*/ 870226 w 3172584"/>
              <a:gd name="connsiteY2" fmla="*/ 0 h 4575175"/>
              <a:gd name="connsiteX3" fmla="*/ 1207022 w 3172584"/>
              <a:gd name="connsiteY3" fmla="*/ 47625 h 4575175"/>
              <a:gd name="connsiteX4" fmla="*/ 1556026 w 3172584"/>
              <a:gd name="connsiteY4" fmla="*/ 279401 h 4575175"/>
              <a:gd name="connsiteX5" fmla="*/ 2343426 w 3172584"/>
              <a:gd name="connsiteY5" fmla="*/ 1066800 h 4575175"/>
              <a:gd name="connsiteX6" fmla="*/ 2933977 w 3172584"/>
              <a:gd name="connsiteY6" fmla="*/ 1663701 h 4575175"/>
              <a:gd name="connsiteX7" fmla="*/ 3168927 w 3172584"/>
              <a:gd name="connsiteY7" fmla="*/ 2279651 h 4575175"/>
              <a:gd name="connsiteX8" fmla="*/ 2959377 w 3172584"/>
              <a:gd name="connsiteY8" fmla="*/ 2882901 h 4575175"/>
              <a:gd name="connsiteX9" fmla="*/ 2423047 w 3172584"/>
              <a:gd name="connsiteY9" fmla="*/ 3448050 h 4575175"/>
              <a:gd name="connsiteX10" fmla="*/ 1403872 w 3172584"/>
              <a:gd name="connsiteY10" fmla="*/ 4416425 h 4575175"/>
              <a:gd name="connsiteX11" fmla="*/ 924447 w 3172584"/>
              <a:gd name="connsiteY11" fmla="*/ 4575175 h 4575175"/>
              <a:gd name="connsiteX12" fmla="*/ 324126 w 3172584"/>
              <a:gd name="connsiteY12" fmla="*/ 4292601 h 4575175"/>
              <a:gd name="connsiteX13" fmla="*/ 76476 w 3172584"/>
              <a:gd name="connsiteY13" fmla="*/ 3822701 h 4575175"/>
              <a:gd name="connsiteX14" fmla="*/ 222526 w 3172584"/>
              <a:gd name="connsiteY14" fmla="*/ 3309938 h 4575175"/>
              <a:gd name="connsiteX15" fmla="*/ 572022 w 3172584"/>
              <a:gd name="connsiteY15" fmla="*/ 2901950 h 4575175"/>
              <a:gd name="connsiteX16" fmla="*/ 806726 w 3172584"/>
              <a:gd name="connsiteY16" fmla="*/ 2203451 h 4575175"/>
              <a:gd name="connsiteX17" fmla="*/ 633430 w 3172584"/>
              <a:gd name="connsiteY17" fmla="*/ 1753414 h 4575175"/>
              <a:gd name="connsiteX18" fmla="*/ 341330 w 3172584"/>
              <a:gd name="connsiteY18" fmla="*/ 1469510 h 4575175"/>
              <a:gd name="connsiteX19" fmla="*/ 22747 w 3172584"/>
              <a:gd name="connsiteY19" fmla="*/ 606206 h 4575175"/>
              <a:gd name="connsiteX0" fmla="*/ 21541 w 3171378"/>
              <a:gd name="connsiteY0" fmla="*/ 606206 h 4575175"/>
              <a:gd name="connsiteX1" fmla="*/ 341970 w 3171378"/>
              <a:gd name="connsiteY1" fmla="*/ 190501 h 4575175"/>
              <a:gd name="connsiteX2" fmla="*/ 869020 w 3171378"/>
              <a:gd name="connsiteY2" fmla="*/ 0 h 4575175"/>
              <a:gd name="connsiteX3" fmla="*/ 1205816 w 3171378"/>
              <a:gd name="connsiteY3" fmla="*/ 47625 h 4575175"/>
              <a:gd name="connsiteX4" fmla="*/ 1554820 w 3171378"/>
              <a:gd name="connsiteY4" fmla="*/ 279401 h 4575175"/>
              <a:gd name="connsiteX5" fmla="*/ 2342220 w 3171378"/>
              <a:gd name="connsiteY5" fmla="*/ 1066800 h 4575175"/>
              <a:gd name="connsiteX6" fmla="*/ 2932771 w 3171378"/>
              <a:gd name="connsiteY6" fmla="*/ 1663701 h 4575175"/>
              <a:gd name="connsiteX7" fmla="*/ 3167721 w 3171378"/>
              <a:gd name="connsiteY7" fmla="*/ 2279651 h 4575175"/>
              <a:gd name="connsiteX8" fmla="*/ 2958171 w 3171378"/>
              <a:gd name="connsiteY8" fmla="*/ 2882901 h 4575175"/>
              <a:gd name="connsiteX9" fmla="*/ 2421841 w 3171378"/>
              <a:gd name="connsiteY9" fmla="*/ 3448050 h 4575175"/>
              <a:gd name="connsiteX10" fmla="*/ 1402666 w 3171378"/>
              <a:gd name="connsiteY10" fmla="*/ 4416425 h 4575175"/>
              <a:gd name="connsiteX11" fmla="*/ 923241 w 3171378"/>
              <a:gd name="connsiteY11" fmla="*/ 4575175 h 4575175"/>
              <a:gd name="connsiteX12" fmla="*/ 322920 w 3171378"/>
              <a:gd name="connsiteY12" fmla="*/ 4292601 h 4575175"/>
              <a:gd name="connsiteX13" fmla="*/ 75270 w 3171378"/>
              <a:gd name="connsiteY13" fmla="*/ 3822701 h 4575175"/>
              <a:gd name="connsiteX14" fmla="*/ 221320 w 3171378"/>
              <a:gd name="connsiteY14" fmla="*/ 3309938 h 4575175"/>
              <a:gd name="connsiteX15" fmla="*/ 570816 w 3171378"/>
              <a:gd name="connsiteY15" fmla="*/ 2901950 h 4575175"/>
              <a:gd name="connsiteX16" fmla="*/ 805520 w 3171378"/>
              <a:gd name="connsiteY16" fmla="*/ 2203451 h 4575175"/>
              <a:gd name="connsiteX17" fmla="*/ 632224 w 3171378"/>
              <a:gd name="connsiteY17" fmla="*/ 1753414 h 4575175"/>
              <a:gd name="connsiteX18" fmla="*/ 340124 w 3171378"/>
              <a:gd name="connsiteY18" fmla="*/ 1469510 h 4575175"/>
              <a:gd name="connsiteX19" fmla="*/ 21541 w 3171378"/>
              <a:gd name="connsiteY19" fmla="*/ 606206 h 4575175"/>
              <a:gd name="connsiteX0" fmla="*/ 7707 w 3157544"/>
              <a:gd name="connsiteY0" fmla="*/ 606206 h 4575175"/>
              <a:gd name="connsiteX1" fmla="*/ 328136 w 3157544"/>
              <a:gd name="connsiteY1" fmla="*/ 190501 h 4575175"/>
              <a:gd name="connsiteX2" fmla="*/ 855186 w 3157544"/>
              <a:gd name="connsiteY2" fmla="*/ 0 h 4575175"/>
              <a:gd name="connsiteX3" fmla="*/ 1191982 w 3157544"/>
              <a:gd name="connsiteY3" fmla="*/ 47625 h 4575175"/>
              <a:gd name="connsiteX4" fmla="*/ 1540986 w 3157544"/>
              <a:gd name="connsiteY4" fmla="*/ 279401 h 4575175"/>
              <a:gd name="connsiteX5" fmla="*/ 2328386 w 3157544"/>
              <a:gd name="connsiteY5" fmla="*/ 1066800 h 4575175"/>
              <a:gd name="connsiteX6" fmla="*/ 2918937 w 3157544"/>
              <a:gd name="connsiteY6" fmla="*/ 1663701 h 4575175"/>
              <a:gd name="connsiteX7" fmla="*/ 3153887 w 3157544"/>
              <a:gd name="connsiteY7" fmla="*/ 2279651 h 4575175"/>
              <a:gd name="connsiteX8" fmla="*/ 2944337 w 3157544"/>
              <a:gd name="connsiteY8" fmla="*/ 2882901 h 4575175"/>
              <a:gd name="connsiteX9" fmla="*/ 2408007 w 3157544"/>
              <a:gd name="connsiteY9" fmla="*/ 3448050 h 4575175"/>
              <a:gd name="connsiteX10" fmla="*/ 1388832 w 3157544"/>
              <a:gd name="connsiteY10" fmla="*/ 4416425 h 4575175"/>
              <a:gd name="connsiteX11" fmla="*/ 909407 w 3157544"/>
              <a:gd name="connsiteY11" fmla="*/ 4575175 h 4575175"/>
              <a:gd name="connsiteX12" fmla="*/ 309086 w 3157544"/>
              <a:gd name="connsiteY12" fmla="*/ 4292601 h 4575175"/>
              <a:gd name="connsiteX13" fmla="*/ 61436 w 3157544"/>
              <a:gd name="connsiteY13" fmla="*/ 3822701 h 4575175"/>
              <a:gd name="connsiteX14" fmla="*/ 207486 w 3157544"/>
              <a:gd name="connsiteY14" fmla="*/ 3309938 h 4575175"/>
              <a:gd name="connsiteX15" fmla="*/ 556982 w 3157544"/>
              <a:gd name="connsiteY15" fmla="*/ 2901950 h 4575175"/>
              <a:gd name="connsiteX16" fmla="*/ 791686 w 3157544"/>
              <a:gd name="connsiteY16" fmla="*/ 2203451 h 4575175"/>
              <a:gd name="connsiteX17" fmla="*/ 618390 w 3157544"/>
              <a:gd name="connsiteY17" fmla="*/ 1753414 h 4575175"/>
              <a:gd name="connsiteX18" fmla="*/ 326290 w 3157544"/>
              <a:gd name="connsiteY18" fmla="*/ 1469510 h 4575175"/>
              <a:gd name="connsiteX19" fmla="*/ 118243 w 3157544"/>
              <a:gd name="connsiteY19" fmla="*/ 1272964 h 4575175"/>
              <a:gd name="connsiteX20" fmla="*/ 7707 w 3157544"/>
              <a:gd name="connsiteY20" fmla="*/ 606206 h 4575175"/>
              <a:gd name="connsiteX0" fmla="*/ 7180 w 3157017"/>
              <a:gd name="connsiteY0" fmla="*/ 606206 h 4575175"/>
              <a:gd name="connsiteX1" fmla="*/ 327609 w 3157017"/>
              <a:gd name="connsiteY1" fmla="*/ 190501 h 4575175"/>
              <a:gd name="connsiteX2" fmla="*/ 854659 w 3157017"/>
              <a:gd name="connsiteY2" fmla="*/ 0 h 4575175"/>
              <a:gd name="connsiteX3" fmla="*/ 1191455 w 3157017"/>
              <a:gd name="connsiteY3" fmla="*/ 47625 h 4575175"/>
              <a:gd name="connsiteX4" fmla="*/ 1540459 w 3157017"/>
              <a:gd name="connsiteY4" fmla="*/ 279401 h 4575175"/>
              <a:gd name="connsiteX5" fmla="*/ 2327859 w 3157017"/>
              <a:gd name="connsiteY5" fmla="*/ 1066800 h 4575175"/>
              <a:gd name="connsiteX6" fmla="*/ 2918410 w 3157017"/>
              <a:gd name="connsiteY6" fmla="*/ 1663701 h 4575175"/>
              <a:gd name="connsiteX7" fmla="*/ 3153360 w 3157017"/>
              <a:gd name="connsiteY7" fmla="*/ 2279651 h 4575175"/>
              <a:gd name="connsiteX8" fmla="*/ 2943810 w 3157017"/>
              <a:gd name="connsiteY8" fmla="*/ 2882901 h 4575175"/>
              <a:gd name="connsiteX9" fmla="*/ 2407480 w 3157017"/>
              <a:gd name="connsiteY9" fmla="*/ 3448050 h 4575175"/>
              <a:gd name="connsiteX10" fmla="*/ 1388305 w 3157017"/>
              <a:gd name="connsiteY10" fmla="*/ 4416425 h 4575175"/>
              <a:gd name="connsiteX11" fmla="*/ 908880 w 3157017"/>
              <a:gd name="connsiteY11" fmla="*/ 4575175 h 4575175"/>
              <a:gd name="connsiteX12" fmla="*/ 308559 w 3157017"/>
              <a:gd name="connsiteY12" fmla="*/ 4292601 h 4575175"/>
              <a:gd name="connsiteX13" fmla="*/ 60909 w 3157017"/>
              <a:gd name="connsiteY13" fmla="*/ 3822701 h 4575175"/>
              <a:gd name="connsiteX14" fmla="*/ 206959 w 3157017"/>
              <a:gd name="connsiteY14" fmla="*/ 3309938 h 4575175"/>
              <a:gd name="connsiteX15" fmla="*/ 556455 w 3157017"/>
              <a:gd name="connsiteY15" fmla="*/ 2901950 h 4575175"/>
              <a:gd name="connsiteX16" fmla="*/ 791159 w 3157017"/>
              <a:gd name="connsiteY16" fmla="*/ 2203451 h 4575175"/>
              <a:gd name="connsiteX17" fmla="*/ 617863 w 3157017"/>
              <a:gd name="connsiteY17" fmla="*/ 1753414 h 4575175"/>
              <a:gd name="connsiteX18" fmla="*/ 325763 w 3157017"/>
              <a:gd name="connsiteY18" fmla="*/ 1469510 h 4575175"/>
              <a:gd name="connsiteX19" fmla="*/ 126725 w 3157017"/>
              <a:gd name="connsiteY19" fmla="*/ 1245938 h 4575175"/>
              <a:gd name="connsiteX20" fmla="*/ 7180 w 3157017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20915 w 3174640"/>
              <a:gd name="connsiteY16" fmla="*/ 2583755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3174640" h="4575175">
                <a:moveTo>
                  <a:pt x="24803" y="606206"/>
                </a:moveTo>
                <a:cubicBezTo>
                  <a:pt x="125263" y="342139"/>
                  <a:pt x="225722" y="286809"/>
                  <a:pt x="345232" y="190501"/>
                </a:cubicBezTo>
                <a:cubicBezTo>
                  <a:pt x="609815" y="6351"/>
                  <a:pt x="747399" y="19050"/>
                  <a:pt x="872282" y="0"/>
                </a:cubicBezTo>
                <a:cubicBezTo>
                  <a:pt x="1009947" y="3175"/>
                  <a:pt x="1103163" y="6350"/>
                  <a:pt x="1209078" y="47625"/>
                </a:cubicBezTo>
                <a:cubicBezTo>
                  <a:pt x="1323378" y="97367"/>
                  <a:pt x="1368681" y="109539"/>
                  <a:pt x="1558082" y="279401"/>
                </a:cubicBezTo>
                <a:cubicBezTo>
                  <a:pt x="1664933" y="385763"/>
                  <a:pt x="2023179" y="738717"/>
                  <a:pt x="2345482" y="1066800"/>
                </a:cubicBezTo>
                <a:cubicBezTo>
                  <a:pt x="2562441" y="1305983"/>
                  <a:pt x="2792100" y="1499659"/>
                  <a:pt x="2936033" y="1663701"/>
                </a:cubicBezTo>
                <a:cubicBezTo>
                  <a:pt x="3060916" y="1821393"/>
                  <a:pt x="3198988" y="1990726"/>
                  <a:pt x="3170983" y="2279651"/>
                </a:cubicBezTo>
                <a:cubicBezTo>
                  <a:pt x="3174158" y="2459568"/>
                  <a:pt x="3130196" y="2656418"/>
                  <a:pt x="2961433" y="2882901"/>
                </a:cubicBezTo>
                <a:cubicBezTo>
                  <a:pt x="2779970" y="3083984"/>
                  <a:pt x="2683296" y="3169179"/>
                  <a:pt x="2425103" y="3448050"/>
                </a:cubicBezTo>
                <a:cubicBezTo>
                  <a:pt x="2085378" y="3770842"/>
                  <a:pt x="1577456" y="4305248"/>
                  <a:pt x="1423945" y="4416425"/>
                </a:cubicBezTo>
                <a:cubicBezTo>
                  <a:pt x="1264137" y="4513792"/>
                  <a:pt x="1117091" y="4570994"/>
                  <a:pt x="926503" y="4575175"/>
                </a:cubicBezTo>
                <a:cubicBezTo>
                  <a:pt x="760586" y="4565974"/>
                  <a:pt x="551689" y="4513792"/>
                  <a:pt x="326182" y="4292601"/>
                </a:cubicBezTo>
                <a:cubicBezTo>
                  <a:pt x="224582" y="4167718"/>
                  <a:pt x="95142" y="3979991"/>
                  <a:pt x="87541" y="3831710"/>
                </a:cubicBezTo>
                <a:cubicBezTo>
                  <a:pt x="74028" y="3613139"/>
                  <a:pt x="142032" y="3466042"/>
                  <a:pt x="224582" y="3309938"/>
                </a:cubicBezTo>
                <a:cubicBezTo>
                  <a:pt x="366481" y="3129492"/>
                  <a:pt x="387729" y="3095096"/>
                  <a:pt x="574078" y="2901950"/>
                </a:cubicBezTo>
                <a:cubicBezTo>
                  <a:pt x="656800" y="2780920"/>
                  <a:pt x="692307" y="2737709"/>
                  <a:pt x="747941" y="2592764"/>
                </a:cubicBezTo>
                <a:cubicBezTo>
                  <a:pt x="772043" y="2492863"/>
                  <a:pt x="805002" y="2386884"/>
                  <a:pt x="799773" y="2221468"/>
                </a:cubicBezTo>
                <a:cubicBezTo>
                  <a:pt x="779744" y="1998341"/>
                  <a:pt x="738660" y="1938002"/>
                  <a:pt x="635486" y="1753414"/>
                </a:cubicBezTo>
                <a:cubicBezTo>
                  <a:pt x="563645" y="1664785"/>
                  <a:pt x="442254" y="1567148"/>
                  <a:pt x="343386" y="1469510"/>
                </a:cubicBezTo>
                <a:cubicBezTo>
                  <a:pt x="260028" y="1389435"/>
                  <a:pt x="251498" y="1394326"/>
                  <a:pt x="144348" y="1245938"/>
                </a:cubicBezTo>
                <a:cubicBezTo>
                  <a:pt x="-34873" y="1025479"/>
                  <a:pt x="-10179" y="786616"/>
                  <a:pt x="24803" y="606206"/>
                </a:cubicBezTo>
                <a:close/>
              </a:path>
            </a:pathLst>
          </a:custGeom>
          <a:solidFill>
            <a:schemeClr val="bg1">
              <a:lumMod val="50000"/>
              <a:alpha val="73000"/>
            </a:schemeClr>
          </a:solidFill>
          <a:effectLst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Title 4">
            <a:extLst>
              <a:ext uri="{FF2B5EF4-FFF2-40B4-BE49-F238E27FC236}">
                <a16:creationId xmlns:a16="http://schemas.microsoft.com/office/drawing/2014/main" xmlns="" id="{24A394E3-CEF4-434E-B8BA-A7752FE2FE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967" y="2040510"/>
            <a:ext cx="6289780" cy="2814411"/>
          </a:xfrm>
          <a:prstGeom prst="rect">
            <a:avLst/>
          </a:prstGeom>
        </p:spPr>
        <p:txBody>
          <a:bodyPr/>
          <a:lstStyle>
            <a:lvl1pPr algn="r">
              <a:defRPr sz="54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Section Heading</a:t>
            </a:r>
          </a:p>
        </p:txBody>
      </p:sp>
    </p:spTree>
    <p:extLst>
      <p:ext uri="{BB962C8B-B14F-4D97-AF65-F5344CB8AC3E}">
        <p14:creationId xmlns:p14="http://schemas.microsoft.com/office/powerpoint/2010/main" val="1141333489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xmlns="" id="{E4EA49B2-B2FF-4947-9709-2F2021A6BF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13978" y="14354"/>
            <a:ext cx="1809906" cy="2057231"/>
          </a:xfrm>
          <a:prstGeom prst="rect">
            <a:avLst/>
          </a:prstGeom>
        </p:spPr>
      </p:pic>
      <p:sp>
        <p:nvSpPr>
          <p:cNvPr id="24" name="Rectangle">
            <a:extLst>
              <a:ext uri="{FF2B5EF4-FFF2-40B4-BE49-F238E27FC236}">
                <a16:creationId xmlns:a16="http://schemas.microsoft.com/office/drawing/2014/main" xmlns="" id="{3458FAF4-B7CB-1340-8901-F7EC7F2C62B1}"/>
              </a:ext>
            </a:extLst>
          </p:cNvPr>
          <p:cNvSpPr/>
          <p:nvPr userDrawn="1"/>
        </p:nvSpPr>
        <p:spPr>
          <a:xfrm flipV="1">
            <a:off x="463638" y="1013885"/>
            <a:ext cx="11252267" cy="18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bg2">
                  <a:lumMod val="75000"/>
                </a:schemeClr>
              </a:gs>
              <a:gs pos="96000">
                <a:schemeClr val="bg1">
                  <a:alpha val="0"/>
                </a:schemeClr>
              </a:gs>
            </a:gsLst>
            <a:lin ang="1140000" scaled="0"/>
          </a:gradFill>
          <a:ln w="12700">
            <a:miter lim="400000"/>
          </a:ln>
        </p:spPr>
        <p:txBody>
          <a:bodyPr lIns="0" tIns="0" rIns="0" bIns="0" anchor="ctr">
            <a:noAutofit/>
          </a:bodyPr>
          <a:lstStyle/>
          <a:p>
            <a:pPr defTabSz="825500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873A3218-217B-494A-AA85-B666F0B41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639" y="213332"/>
            <a:ext cx="9070253" cy="800554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6834EBBD-F344-BC42-8A59-4A611AD90B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639" y="1656452"/>
            <a:ext cx="10683430" cy="426085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xmlns="" id="{7062C53C-70C0-244F-ABC2-135CA0E50B06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45751" cy="225709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521B9F41-F234-5646-8C69-31DB1DDE0F7A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DF74820F-00D0-3144-9F5F-E63C0E86852F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xmlns="" id="{41A83626-8724-9645-A457-B6947B936126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xmlns="" id="{BA8B78A6-FFFF-A34A-A215-A200C015C9E0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xmlns="" id="{757E2777-89F5-C845-8CEA-52FB08D6DA28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xmlns="" id="{C8660B14-6FB3-794C-AA6A-399EFDD5777F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3A9ECFFF-C4EB-0948-BA91-2631A7564B83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Text color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xmlns="" id="{EBC27F33-7866-4F4A-9FCF-1DF9C5ACAE7D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8AA9D110-9BF5-7947-9FAE-921099CA6FCD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Brand color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F422A268-4CEA-F743-8CD9-CE9C39DDAB51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mplimentary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lors</a:t>
            </a:r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xmlns="" id="{6E8E7FBD-0A83-A040-AEE3-94907C38B2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1799" y="6605588"/>
            <a:ext cx="2774338" cy="2801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xmlns="" id="{0A14EAD9-9B77-D341-BE37-E06DE7AB8E6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6473" y="469958"/>
            <a:ext cx="1059902" cy="412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1052972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&amp;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xmlns="" id="{E4EA49B2-B2FF-4947-9709-2F2021A6BF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13978" y="14354"/>
            <a:ext cx="1809906" cy="2057231"/>
          </a:xfrm>
          <a:prstGeom prst="rect">
            <a:avLst/>
          </a:prstGeom>
        </p:spPr>
      </p:pic>
      <p:sp>
        <p:nvSpPr>
          <p:cNvPr id="24" name="Rectangle">
            <a:extLst>
              <a:ext uri="{FF2B5EF4-FFF2-40B4-BE49-F238E27FC236}">
                <a16:creationId xmlns:a16="http://schemas.microsoft.com/office/drawing/2014/main" xmlns="" id="{3458FAF4-B7CB-1340-8901-F7EC7F2C62B1}"/>
              </a:ext>
            </a:extLst>
          </p:cNvPr>
          <p:cNvSpPr/>
          <p:nvPr userDrawn="1"/>
        </p:nvSpPr>
        <p:spPr>
          <a:xfrm flipV="1">
            <a:off x="463638" y="1013885"/>
            <a:ext cx="11252267" cy="18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bg2">
                  <a:lumMod val="75000"/>
                </a:schemeClr>
              </a:gs>
              <a:gs pos="96000">
                <a:schemeClr val="bg1">
                  <a:alpha val="0"/>
                </a:schemeClr>
              </a:gs>
            </a:gsLst>
            <a:lin ang="1140000" scaled="0"/>
          </a:gradFill>
          <a:ln w="12700">
            <a:miter lim="400000"/>
          </a:ln>
        </p:spPr>
        <p:txBody>
          <a:bodyPr lIns="0" tIns="0" rIns="0" bIns="0" anchor="ctr">
            <a:noAutofit/>
          </a:bodyPr>
          <a:lstStyle/>
          <a:p>
            <a:pPr defTabSz="825500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873A3218-217B-494A-AA85-B666F0B41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639" y="213332"/>
            <a:ext cx="9070253" cy="800554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xmlns="" id="{7062C53C-70C0-244F-ABC2-135CA0E50B06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45751" cy="225709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521B9F41-F234-5646-8C69-31DB1DDE0F7A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DF74820F-00D0-3144-9F5F-E63C0E86852F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xmlns="" id="{41A83626-8724-9645-A457-B6947B936126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xmlns="" id="{BA8B78A6-FFFF-A34A-A215-A200C015C9E0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xmlns="" id="{757E2777-89F5-C845-8CEA-52FB08D6DA28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xmlns="" id="{C8660B14-6FB3-794C-AA6A-399EFDD5777F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3A9ECFFF-C4EB-0948-BA91-2631A7564B83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Text color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xmlns="" id="{EBC27F33-7866-4F4A-9FCF-1DF9C5ACAE7D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8AA9D110-9BF5-7947-9FAE-921099CA6FCD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Brand color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F422A268-4CEA-F743-8CD9-CE9C39DDAB51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mplimentary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lors</a:t>
            </a:r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xmlns="" id="{6E8E7FBD-0A83-A040-AEE3-94907C38B2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1799" y="6605588"/>
            <a:ext cx="2774338" cy="2801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xmlns="" id="{0A14EAD9-9B77-D341-BE37-E06DE7AB8E6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6473" y="469958"/>
            <a:ext cx="1059902" cy="412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327980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xmlns="" id="{98275199-1176-234D-B686-65D73C4BE2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13241" y="0"/>
            <a:ext cx="1809906" cy="2057231"/>
          </a:xfrm>
          <a:prstGeom prst="rect">
            <a:avLst/>
          </a:prstGeom>
        </p:spPr>
      </p:pic>
      <p:sp>
        <p:nvSpPr>
          <p:cNvPr id="24" name="Title 1">
            <a:extLst>
              <a:ext uri="{FF2B5EF4-FFF2-40B4-BE49-F238E27FC236}">
                <a16:creationId xmlns:a16="http://schemas.microsoft.com/office/drawing/2014/main" xmlns="" id="{0B403B51-449A-F04D-8120-455AD1309D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192" y="125608"/>
            <a:ext cx="9161579" cy="800554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xmlns="" id="{780518AC-5284-4348-BFA3-EB2E7703C6E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7415" y="1400865"/>
            <a:ext cx="5194583" cy="4963360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xmlns="" id="{93CBE094-E58C-9C48-933C-D84E2D9153F7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695760" y="1400865"/>
            <a:ext cx="5194583" cy="4963360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E64AE565-3152-D84D-A473-D02463E77880}"/>
              </a:ext>
            </a:extLst>
          </p:cNvPr>
          <p:cNvSpPr txBox="1">
            <a:spLocks/>
          </p:cNvSpPr>
          <p:nvPr userDrawn="1"/>
        </p:nvSpPr>
        <p:spPr>
          <a:xfrm>
            <a:off x="11924168" y="6605588"/>
            <a:ext cx="245751" cy="225709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rgbClr val="929292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fld id="{86CB4B4D-7CA3-9044-876B-883B54F8677D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9908D209-98BF-2A4B-8298-8ECBD9E9DA5D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EB6C49EE-74EB-734C-ADC5-B157448EAC83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xmlns="" id="{92A4171B-28D4-784C-BD71-4A2D84F793EF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xmlns="" id="{B778F22A-8EA5-CB4E-A80D-9B523B637ADF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xmlns="" id="{38298B80-281F-9B47-8E7B-225463163521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xmlns="" id="{A738F259-801C-0A4D-BB5F-2913FC195DB0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05109AEC-F46C-9343-8876-241CA7F0CF01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Text color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xmlns="" id="{63965890-881F-0548-9AA6-6BEDB629FF4A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C8A682B1-016E-8448-9F6D-DA4F5A7FD212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Brand color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AF073868-2303-4649-B151-B5A1C678C254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mplimentary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lors</a:t>
            </a:r>
          </a:p>
        </p:txBody>
      </p:sp>
      <p:sp>
        <p:nvSpPr>
          <p:cNvPr id="27" name="Footer Placeholder 4">
            <a:extLst>
              <a:ext uri="{FF2B5EF4-FFF2-40B4-BE49-F238E27FC236}">
                <a16:creationId xmlns:a16="http://schemas.microsoft.com/office/drawing/2014/main" xmlns="" id="{8E51ABC6-722D-AE40-BF6A-71179F5BF1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1799" y="6605588"/>
            <a:ext cx="2774338" cy="2801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sp>
        <p:nvSpPr>
          <p:cNvPr id="25" name="Rectangle">
            <a:extLst>
              <a:ext uri="{FF2B5EF4-FFF2-40B4-BE49-F238E27FC236}">
                <a16:creationId xmlns:a16="http://schemas.microsoft.com/office/drawing/2014/main" xmlns="" id="{5F1593E0-C9DB-A34D-A37F-5F91CD76862C}"/>
              </a:ext>
            </a:extLst>
          </p:cNvPr>
          <p:cNvSpPr/>
          <p:nvPr userDrawn="1"/>
        </p:nvSpPr>
        <p:spPr>
          <a:xfrm flipV="1">
            <a:off x="463638" y="1013885"/>
            <a:ext cx="11252267" cy="18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bg2">
                  <a:lumMod val="75000"/>
                </a:schemeClr>
              </a:gs>
              <a:gs pos="96000">
                <a:schemeClr val="bg1">
                  <a:alpha val="0"/>
                </a:schemeClr>
              </a:gs>
            </a:gsLst>
            <a:lin ang="1140000" scaled="0"/>
          </a:gradFill>
          <a:ln w="12700">
            <a:miter lim="400000"/>
          </a:ln>
        </p:spPr>
        <p:txBody>
          <a:bodyPr lIns="0" tIns="0" rIns="0" bIns="0" anchor="ctr">
            <a:noAutofit/>
          </a:bodyPr>
          <a:lstStyle/>
          <a:p>
            <a:pPr defTabSz="825500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xmlns="" id="{29A265A8-3ECE-064E-8900-221003CE633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6473" y="469958"/>
            <a:ext cx="1059902" cy="412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947300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line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xmlns="" id="{98FD5DEF-8845-E346-A3B7-5EF31727D72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25312" y="0"/>
            <a:ext cx="6305119" cy="6884988"/>
          </a:xfrm>
          <a:solidFill>
            <a:schemeClr val="bg1">
              <a:lumMod val="50000"/>
            </a:scheme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xmlns="" id="{B91601A0-D2CB-BA4A-B01A-EBB34C013813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45751" cy="225709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xmlns="" id="{3E7C1AFB-42A8-7C43-8A0A-F4D5B06C75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366047"/>
            <a:ext cx="4968240" cy="150812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995CB6CA-D25C-644C-9DDA-C9C031EB14C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2198913"/>
            <a:ext cx="4968240" cy="41367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823F7FCB-6635-8547-A913-042F71665ECE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D84C5EAA-9890-6D4F-B6DD-06E08EC943C9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BB514545-6D0C-734A-9600-67C80E4F962C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xmlns="" id="{1D795F89-F616-B045-A0F1-65C5B7C1C16E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xmlns="" id="{06854A1C-013F-CD42-A9D1-FDBB4C667153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xmlns="" id="{09422DF1-0EFA-C742-BB28-AAF9C6054EA1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B78A4FCD-EC75-884E-AFE1-DE4786E9B4A6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Text color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xmlns="" id="{E0ECCD77-613C-5543-B304-CB32BE0607B5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C93EA8AD-0425-A242-AD86-5A3F4710A1F8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Brand color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F77D096F-E9B5-AA45-BCC4-A3F00ECC15DF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mplimentary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lors</a:t>
            </a:r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xmlns="" id="{FCC531F1-94DC-5846-B783-81E4F7B3D1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1799" y="6605588"/>
            <a:ext cx="2774338" cy="2801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8A4F94BF-A772-AC48-B5A7-5FBACF8733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13978" y="14354"/>
            <a:ext cx="1809906" cy="2057231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xmlns="" id="{B295EA3E-423D-EE4B-A1D4-2CC9DF1734C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6473" y="469958"/>
            <a:ext cx="1059902" cy="412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5083665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line 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">
            <a:extLst>
              <a:ext uri="{FF2B5EF4-FFF2-40B4-BE49-F238E27FC236}">
                <a16:creationId xmlns:a16="http://schemas.microsoft.com/office/drawing/2014/main" xmlns="" id="{B91601A0-D2CB-BA4A-B01A-EBB34C013813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45751" cy="225709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61E50E3B-71A1-7143-B226-BC52CDEF408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42430" y="0"/>
            <a:ext cx="12230432" cy="4297363"/>
          </a:xfrm>
          <a:solidFill>
            <a:schemeClr val="bg1">
              <a:lumMod val="50000"/>
            </a:schemeClr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xmlns="" id="{6A4B1AF3-67B6-7549-90E1-391138404C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0000" y="4800600"/>
            <a:ext cx="10561418" cy="566738"/>
          </a:xfrm>
        </p:spPr>
        <p:txBody>
          <a:bodyPr anchor="b">
            <a:normAutofit/>
          </a:bodyPr>
          <a:lstStyle>
            <a:lvl1pPr algn="l">
              <a:defRPr sz="24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xmlns="" id="{4ED528F5-3E4C-C645-AA07-F1CE93C10175}"/>
              </a:ext>
            </a:extLst>
          </p:cNvPr>
          <p:cNvSpPr>
            <a:spLocks noGrp="1"/>
          </p:cNvSpPr>
          <p:nvPr>
            <p:ph type="body" sz="half" idx="11"/>
          </p:nvPr>
        </p:nvSpPr>
        <p:spPr>
          <a:xfrm>
            <a:off x="810000" y="5367338"/>
            <a:ext cx="10561418" cy="493712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46B0CBD1-34C8-DA42-9F50-61C10F7A0E0D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422BA68C-503B-F348-9865-CE71E28D303B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2C885681-6F08-F34A-91C1-1CCA0A3A9BDC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xmlns="" id="{A61E0FD0-C7A1-F442-8BF9-9AAFDD98CEDD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xmlns="" id="{F5FBBC50-F96B-8A46-AD87-A9EF28413F10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xmlns="" id="{A8D2F63F-8326-1B46-957C-930CAA61C76C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6F206250-E97E-0943-8036-5AD1C0F9E728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Text color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xmlns="" id="{519B677C-CE8F-2D44-A748-C339BF7F5252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6CA763AF-8998-DE4A-84AF-BB772C446EEB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Brand col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19FC6FB5-83E4-834D-B047-49459EDAF9A4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mplimentary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lors</a:t>
            </a:r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xmlns="" id="{34387320-F11C-1C4A-8DFF-F21E5E7026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1799" y="6605588"/>
            <a:ext cx="2774338" cy="2801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xmlns="" id="{3829CEF4-3AF8-184B-95F2-0FC5EAC2EA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13978" y="14354"/>
            <a:ext cx="1809906" cy="2057231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38107E3C-871C-F844-B04A-4891E2CD262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6943" y="469958"/>
            <a:ext cx="1078963" cy="420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4774056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0.xml"/><Relationship Id="rId20" Type="http://schemas.openxmlformats.org/officeDocument/2006/relationships/tags" Target="../tags/tag2.xml"/><Relationship Id="rId21" Type="http://schemas.openxmlformats.org/officeDocument/2006/relationships/tags" Target="../tags/tag3.xml"/><Relationship Id="rId22" Type="http://schemas.openxmlformats.org/officeDocument/2006/relationships/oleObject" Target="../embeddings/oleObject1.bin"/><Relationship Id="rId23" Type="http://schemas.openxmlformats.org/officeDocument/2006/relationships/image" Target="../media/image7.emf"/><Relationship Id="rId10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28.xml"/><Relationship Id="rId18" Type="http://schemas.openxmlformats.org/officeDocument/2006/relationships/theme" Target="../theme/theme2.xml"/><Relationship Id="rId19" Type="http://schemas.openxmlformats.org/officeDocument/2006/relationships/vmlDrawing" Target="../drawings/vmlDrawing1.vml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slideLayout" Target="../slideLayouts/slideLayout17.xml"/><Relationship Id="rId7" Type="http://schemas.openxmlformats.org/officeDocument/2006/relationships/slideLayout" Target="../slideLayouts/slideLayout18.xml"/><Relationship Id="rId8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46249" y="6642855"/>
            <a:ext cx="245751" cy="225709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>
            <a:spAutoFit/>
          </a:bodyPr>
          <a:lstStyle>
            <a:lvl1pPr>
              <a:defRPr sz="1100">
                <a:solidFill>
                  <a:srgbClr val="929292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 dirty="0"/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xmlns="" id="{ACB1658E-5C68-CB43-BACB-788A5B6410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0000" y="447188"/>
            <a:ext cx="10571998" cy="970450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xmlns="" id="{9DDF0C4F-9045-3548-9802-128CB5B0C2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18713" y="1906476"/>
            <a:ext cx="10563285" cy="3674397"/>
          </a:xfrm>
          <a:prstGeom prst="rect">
            <a:avLst/>
          </a:prstGeom>
          <a:effectLst/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xmlns="" id="{82CF39F0-44BA-E647-AA99-658BDDE798D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71467" y="749850"/>
            <a:ext cx="2351122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fld id="{0AC1B52D-7485-264C-B4F3-6A96EBB94E64}" type="datetime3">
              <a:rPr lang="en-IN" smtClean="0"/>
              <a:pPr/>
              <a:t>28 October 2019</a:t>
            </a:fld>
            <a:endParaRPr lang="en-US"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xmlns="" id="{A307519A-E37F-4748-9265-06035F60EDA4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xmlns="" id="{3401688B-5BBF-494D-A11B-601370B2C360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xmlns="" id="{FA4F81A8-2C73-3246-8DF2-B7994515FA87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xmlns="" id="{EA9F8BC5-62B8-154A-8456-2FF4CA07D3B9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xmlns="" id="{07783601-7305-E24D-BE5B-DCE43F9C003B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2F196B8D-1B4E-4B47-9FDA-4B816603B824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8A5BE025-9E92-B24D-B3B5-E5C787C7D036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Text color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E03F16BB-3F8A-7744-842C-5CEE50C7ECC4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B8B9ED89-C260-6545-B790-2DD3B26ED527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Brand colo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D1699DF4-495D-5342-BA47-C4329DE33F7D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mplimentary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lors</a:t>
            </a:r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xmlns="" id="{BF94B498-FE55-AB43-864B-02ED9B508F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1799" y="6605588"/>
            <a:ext cx="2774338" cy="2801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208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7" r:id="rId1"/>
    <p:sldLayoutId id="2147483998" r:id="rId2"/>
    <p:sldLayoutId id="2147483999" r:id="rId3"/>
    <p:sldLayoutId id="2147484000" r:id="rId4"/>
    <p:sldLayoutId id="2147484001" r:id="rId5"/>
    <p:sldLayoutId id="2147484002" r:id="rId6"/>
    <p:sldLayoutId id="2147484003" r:id="rId7"/>
    <p:sldLayoutId id="2147484004" r:id="rId8"/>
    <p:sldLayoutId id="2147484005" r:id="rId9"/>
    <p:sldLayoutId id="2147484006" r:id="rId10"/>
    <p:sldLayoutId id="2147484007" r:id="rId11"/>
  </p:sldLayoutIdLst>
  <p:transition spd="med"/>
  <p:hf hdr="0"/>
  <p:txStyles>
    <p:titleStyle>
      <a:lvl1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000" b="1" i="0" u="none" strike="noStrike" cap="none" spc="0" baseline="0">
          <a:ln>
            <a:noFill/>
          </a:ln>
          <a:solidFill>
            <a:schemeClr val="tx1">
              <a:lumMod val="85000"/>
              <a:lumOff val="15000"/>
            </a:schemeClr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Calibri Light"/>
        </a:defRPr>
      </a:lvl1pPr>
      <a:lvl2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2pPr>
      <a:lvl3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3pPr>
      <a:lvl4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4pPr>
      <a:lvl5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5pPr>
      <a:lvl6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6pPr>
      <a:lvl7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7pPr>
      <a:lvl8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8pPr>
      <a:lvl9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9pPr>
    </p:titleStyle>
    <p:bodyStyle>
      <a:lvl1pPr marL="228600" marR="0" indent="-228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chemeClr val="tx1">
              <a:lumMod val="85000"/>
              <a:lumOff val="15000"/>
            </a:schemeClr>
          </a:solidFill>
          <a:effectLst>
            <a:outerShdw sx="1000" sy="1000" algn="ctr" rotWithShape="0">
              <a:schemeClr val="tx1"/>
            </a:outerShdw>
          </a:effectLst>
          <a:uFillTx/>
          <a:latin typeface="Arial" panose="020B0604020202020204" pitchFamily="34" charset="0"/>
          <a:ea typeface="+mn-ea"/>
          <a:cs typeface="Arial" panose="020B0604020202020204" pitchFamily="34" charset="0"/>
          <a:sym typeface="Calibri"/>
        </a:defRPr>
      </a:lvl1pPr>
      <a:lvl2pPr marL="723900" marR="0" indent="-2667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chemeClr val="tx1">
              <a:lumMod val="85000"/>
              <a:lumOff val="15000"/>
            </a:schemeClr>
          </a:solidFill>
          <a:effectLst>
            <a:outerShdw sx="1000" sy="1000" algn="ctr" rotWithShape="0">
              <a:schemeClr val="tx1"/>
            </a:outerShdw>
          </a:effectLst>
          <a:uFillTx/>
          <a:latin typeface="Arial" panose="020B0604020202020204" pitchFamily="34" charset="0"/>
          <a:ea typeface="+mn-ea"/>
          <a:cs typeface="Arial" panose="020B0604020202020204" pitchFamily="34" charset="0"/>
          <a:sym typeface="Calibri"/>
        </a:defRPr>
      </a:lvl2pPr>
      <a:lvl3pPr marL="1234439" marR="0" indent="-320039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chemeClr val="tx1">
              <a:lumMod val="85000"/>
              <a:lumOff val="15000"/>
            </a:schemeClr>
          </a:solidFill>
          <a:effectLst>
            <a:outerShdw sx="1000" sy="1000" algn="ctr" rotWithShape="0">
              <a:schemeClr val="tx1"/>
            </a:outerShdw>
          </a:effectLst>
          <a:uFillTx/>
          <a:latin typeface="Arial" panose="020B0604020202020204" pitchFamily="34" charset="0"/>
          <a:ea typeface="+mn-ea"/>
          <a:cs typeface="Arial" panose="020B0604020202020204" pitchFamily="34" charset="0"/>
          <a:sym typeface="Calibri"/>
        </a:defRPr>
      </a:lvl3pPr>
      <a:lvl4pPr marL="17272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chemeClr val="tx1">
              <a:lumMod val="85000"/>
              <a:lumOff val="15000"/>
            </a:schemeClr>
          </a:solidFill>
          <a:effectLst>
            <a:outerShdw sx="1000" sy="1000" algn="ctr" rotWithShape="0">
              <a:schemeClr val="tx1"/>
            </a:outerShdw>
          </a:effectLst>
          <a:uFillTx/>
          <a:latin typeface="Arial" panose="020B0604020202020204" pitchFamily="34" charset="0"/>
          <a:ea typeface="+mn-ea"/>
          <a:cs typeface="Arial" panose="020B0604020202020204" pitchFamily="34" charset="0"/>
          <a:sym typeface="Calibri"/>
        </a:defRPr>
      </a:lvl4pPr>
      <a:lvl5pPr marL="21844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chemeClr val="tx1">
              <a:lumMod val="85000"/>
              <a:lumOff val="15000"/>
            </a:schemeClr>
          </a:solidFill>
          <a:effectLst>
            <a:outerShdw sx="1000" sy="1000" algn="ctr" rotWithShape="0">
              <a:schemeClr val="tx1"/>
            </a:outerShdw>
          </a:effectLst>
          <a:uFillTx/>
          <a:latin typeface="Arial" panose="020B0604020202020204" pitchFamily="34" charset="0"/>
          <a:ea typeface="+mn-ea"/>
          <a:cs typeface="Arial" panose="020B0604020202020204" pitchFamily="34" charset="0"/>
          <a:sym typeface="Calibri"/>
        </a:defRPr>
      </a:lvl5pPr>
      <a:lvl6pPr marL="26416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6pPr>
      <a:lvl7pPr marL="30988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7pPr>
      <a:lvl8pPr marL="35560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8pPr>
      <a:lvl9pPr marL="40132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9pPr>
    </p:bodyStyle>
    <p:otherStyle>
      <a:lvl1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4572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9144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1371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8288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22860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27432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32004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3657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152" name="think-cell Slide" r:id="rId22" imgW="421" imgH="423" progId="TCLayout.ActiveDocument.1">
                  <p:embed/>
                </p:oleObj>
              </mc:Choice>
              <mc:Fallback>
                <p:oleObj name="think-cell Slide" r:id="rId22" imgW="421" imgH="42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10" name="Rectangle"/>
          <p:cNvSpPr/>
          <p:nvPr/>
        </p:nvSpPr>
        <p:spPr>
          <a:xfrm>
            <a:off x="-2438" y="-3918"/>
            <a:ext cx="12198096" cy="1059606"/>
          </a:xfrm>
          <a:prstGeom prst="rect">
            <a:avLst/>
          </a:prstGeom>
          <a:gradFill>
            <a:gsLst>
              <a:gs pos="0">
                <a:srgbClr val="0D29B3">
                  <a:alpha val="89412"/>
                </a:srgbClr>
              </a:gs>
              <a:gs pos="100000">
                <a:srgbClr val="18D521">
                  <a:alpha val="89412"/>
                </a:srgbClr>
              </a:gs>
            </a:gsLst>
            <a:lin ang="2413842"/>
          </a:gra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algn="l" defTabSz="8255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kumimoji="0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331788" y="76200"/>
            <a:ext cx="6159500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  <a:endParaRPr lang="en-IN" altLang="en-US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1788" y="1333500"/>
            <a:ext cx="10515600" cy="4691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C1B52D-7485-264C-B4F3-6A96EBB94E64}" type="datetime3">
              <a:rPr kumimoji="0" lang="en-IN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 October 2019</a:t>
            </a:fld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Copyright © 2018 Sterlite Tech.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en-IN" sz="1200" b="0" i="0" u="none" strike="noStrike" kern="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itchFamily="34" charset="0"/>
              <a:ea typeface="+mn-ea"/>
              <a:cs typeface="+mn-cs"/>
              <a:sym typeface="Calibri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869738" y="6605588"/>
            <a:ext cx="442912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5E5ECB-56B7-48D0-B80B-3C01E4FE1B86}" type="slidenum">
              <a:rPr kumimoji="0" lang="en-IN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929292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Calibri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altLang="en-US" sz="1100" b="0" i="0" u="none" strike="noStrike" kern="1200" cap="none" spc="0" normalizeH="0" baseline="0" noProof="0">
              <a:ln>
                <a:noFill/>
              </a:ln>
              <a:solidFill>
                <a:srgbClr val="929292"/>
              </a:solidFill>
              <a:effectLst/>
              <a:uLnTx/>
              <a:uFillTx/>
              <a:latin typeface="Arial" charset="0"/>
              <a:ea typeface="+mn-ea"/>
              <a:cs typeface="Arial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730840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  <p:sldLayoutId id="2147483863" r:id="rId5"/>
    <p:sldLayoutId id="2147483864" r:id="rId6"/>
    <p:sldLayoutId id="2147483865" r:id="rId7"/>
    <p:sldLayoutId id="2147483866" r:id="rId8"/>
    <p:sldLayoutId id="2147483867" r:id="rId9"/>
    <p:sldLayoutId id="2147483868" r:id="rId10"/>
    <p:sldLayoutId id="2147483869" r:id="rId11"/>
    <p:sldLayoutId id="2147483870" r:id="rId12"/>
    <p:sldLayoutId id="2147483871" r:id="rId13"/>
    <p:sldLayoutId id="2147483872" r:id="rId14"/>
    <p:sldLayoutId id="2147483873" r:id="rId15"/>
    <p:sldLayoutId id="2147483874" r:id="rId16"/>
    <p:sldLayoutId id="2147483876" r:id="rId17"/>
  </p:sldLayoutIdLst>
  <p:hf hdr="0"/>
  <p:txStyles>
    <p:titleStyle>
      <a:lvl1pPr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 kern="1200">
          <a:solidFill>
            <a:schemeClr val="bg1"/>
          </a:solidFill>
          <a:latin typeface="+mn-lt"/>
          <a:ea typeface="+mj-ea"/>
          <a:cs typeface="+mj-cs"/>
        </a:defRPr>
      </a:lvl1pPr>
      <a:lvl2pPr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Calibri" panose="020F0502020204030204" pitchFamily="34" charset="0"/>
        </a:defRPr>
      </a:lvl2pPr>
      <a:lvl3pPr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Calibri" panose="020F0502020204030204" pitchFamily="34" charset="0"/>
        </a:defRPr>
      </a:lvl3pPr>
      <a:lvl4pPr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Calibri" panose="020F0502020204030204" pitchFamily="34" charset="0"/>
        </a:defRPr>
      </a:lvl4pPr>
      <a:lvl5pPr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Calibri" panose="020F0502020204030204" pitchFamily="34" charset="0"/>
        </a:defRPr>
      </a:lvl5pPr>
      <a:lvl6pPr marL="457200"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7013" indent="-227013" algn="l" defTabSz="912813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000" kern="1200">
          <a:solidFill>
            <a:srgbClr val="0066B1"/>
          </a:solidFill>
          <a:latin typeface="+mn-lt"/>
          <a:ea typeface="+mn-ea"/>
          <a:cs typeface="+mn-cs"/>
        </a:defRPr>
      </a:lvl1pPr>
      <a:lvl2pPr marL="684213" indent="-227013" algn="l" defTabSz="912813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rgbClr val="7D8184"/>
          </a:solidFill>
          <a:latin typeface="+mn-lt"/>
          <a:ea typeface="+mn-ea"/>
          <a:cs typeface="+mn-cs"/>
        </a:defRPr>
      </a:lvl2pPr>
      <a:lvl3pPr marL="1141413" indent="-227013" algn="l" defTabSz="912813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kern="1200">
          <a:solidFill>
            <a:srgbClr val="0066B1"/>
          </a:solidFill>
          <a:latin typeface="+mn-lt"/>
          <a:ea typeface="+mn-ea"/>
          <a:cs typeface="+mn-cs"/>
        </a:defRPr>
      </a:lvl3pPr>
      <a:lvl4pPr marL="1598613" indent="-227013" algn="l" defTabSz="912813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rgbClr val="0066B1"/>
          </a:solidFill>
          <a:latin typeface="+mn-lt"/>
          <a:ea typeface="+mn-ea"/>
          <a:cs typeface="+mn-cs"/>
        </a:defRPr>
      </a:lvl4pPr>
      <a:lvl5pPr marL="2055813" indent="-227013" algn="l" defTabSz="912813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rgbClr val="0066B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17.png"/></Relationships>
</file>

<file path=ppt/slides/_rels/slide10.xml.rels><?xml version="1.0" encoding="UTF-8" standalone="yes"?>
<Relationships xmlns="http://schemas.openxmlformats.org/package/2006/relationships"><Relationship Id="rId11" Type="http://schemas.microsoft.com/office/2007/relationships/hdphoto" Target="../media/hdphoto8.wdp"/><Relationship Id="rId12" Type="http://schemas.openxmlformats.org/officeDocument/2006/relationships/image" Target="../media/image39.png"/><Relationship Id="rId13" Type="http://schemas.microsoft.com/office/2007/relationships/hdphoto" Target="../media/hdphoto9.wdp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36.png"/><Relationship Id="rId4" Type="http://schemas.microsoft.com/office/2007/relationships/hdphoto" Target="../media/hdphoto6.wdp"/><Relationship Id="rId5" Type="http://schemas.openxmlformats.org/officeDocument/2006/relationships/image" Target="../media/image30.jpeg"/><Relationship Id="rId6" Type="http://schemas.openxmlformats.org/officeDocument/2006/relationships/image" Target="../media/image31.jpeg"/><Relationship Id="rId7" Type="http://schemas.openxmlformats.org/officeDocument/2006/relationships/image" Target="../media/image37.png"/><Relationship Id="rId8" Type="http://schemas.microsoft.com/office/2007/relationships/hdphoto" Target="../media/hdphoto7.wdp"/><Relationship Id="rId9" Type="http://schemas.openxmlformats.org/officeDocument/2006/relationships/image" Target="../media/image33.jpeg"/><Relationship Id="rId10" Type="http://schemas.openxmlformats.org/officeDocument/2006/relationships/image" Target="../media/image38.png"/></Relationships>
</file>

<file path=ppt/slides/_rels/slide11.xml.rels><?xml version="1.0" encoding="UTF-8" standalone="yes"?>
<Relationships xmlns="http://schemas.openxmlformats.org/package/2006/relationships"><Relationship Id="rId20" Type="http://schemas.openxmlformats.org/officeDocument/2006/relationships/image" Target="../media/image53.png"/><Relationship Id="rId21" Type="http://schemas.microsoft.com/office/2007/relationships/hdphoto" Target="../media/hdphoto14.wdp"/><Relationship Id="rId22" Type="http://schemas.openxmlformats.org/officeDocument/2006/relationships/image" Target="../media/image54.jpeg"/><Relationship Id="rId23" Type="http://schemas.openxmlformats.org/officeDocument/2006/relationships/image" Target="../media/image55.jpeg"/><Relationship Id="rId24" Type="http://schemas.openxmlformats.org/officeDocument/2006/relationships/image" Target="../media/image56.jpeg"/><Relationship Id="rId25" Type="http://schemas.openxmlformats.org/officeDocument/2006/relationships/image" Target="../media/image57.png"/><Relationship Id="rId26" Type="http://schemas.openxmlformats.org/officeDocument/2006/relationships/image" Target="../media/image58.png"/><Relationship Id="rId27" Type="http://schemas.openxmlformats.org/officeDocument/2006/relationships/image" Target="../media/image59.png"/><Relationship Id="rId28" Type="http://schemas.openxmlformats.org/officeDocument/2006/relationships/image" Target="../media/image60.jpeg"/><Relationship Id="rId29" Type="http://schemas.openxmlformats.org/officeDocument/2006/relationships/image" Target="../media/image61.png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40.png"/><Relationship Id="rId4" Type="http://schemas.openxmlformats.org/officeDocument/2006/relationships/image" Target="../media/image41.jpeg"/><Relationship Id="rId5" Type="http://schemas.microsoft.com/office/2007/relationships/hdphoto" Target="../media/hdphoto10.wdp"/><Relationship Id="rId30" Type="http://schemas.openxmlformats.org/officeDocument/2006/relationships/image" Target="../media/image62.png"/><Relationship Id="rId31" Type="http://schemas.openxmlformats.org/officeDocument/2006/relationships/image" Target="../media/image63.jpeg"/><Relationship Id="rId32" Type="http://schemas.openxmlformats.org/officeDocument/2006/relationships/image" Target="../media/image64.png"/><Relationship Id="rId9" Type="http://schemas.microsoft.com/office/2007/relationships/hdphoto" Target="../media/hdphoto11.wdp"/><Relationship Id="rId6" Type="http://schemas.openxmlformats.org/officeDocument/2006/relationships/image" Target="../media/image42.jpeg"/><Relationship Id="rId7" Type="http://schemas.openxmlformats.org/officeDocument/2006/relationships/image" Target="../media/image43.jpeg"/><Relationship Id="rId8" Type="http://schemas.openxmlformats.org/officeDocument/2006/relationships/image" Target="../media/image44.png"/><Relationship Id="rId33" Type="http://schemas.openxmlformats.org/officeDocument/2006/relationships/image" Target="../media/image65.png"/><Relationship Id="rId34" Type="http://schemas.openxmlformats.org/officeDocument/2006/relationships/image" Target="../media/image66.png"/><Relationship Id="rId35" Type="http://schemas.openxmlformats.org/officeDocument/2006/relationships/image" Target="../media/image67.jpeg"/><Relationship Id="rId36" Type="http://schemas.openxmlformats.org/officeDocument/2006/relationships/image" Target="../media/image68.jpeg"/><Relationship Id="rId10" Type="http://schemas.openxmlformats.org/officeDocument/2006/relationships/image" Target="../media/image45.jpeg"/><Relationship Id="rId11" Type="http://schemas.openxmlformats.org/officeDocument/2006/relationships/image" Target="../media/image46.jpeg"/><Relationship Id="rId12" Type="http://schemas.openxmlformats.org/officeDocument/2006/relationships/image" Target="../media/image47.png"/><Relationship Id="rId13" Type="http://schemas.microsoft.com/office/2007/relationships/hdphoto" Target="../media/hdphoto12.wdp"/><Relationship Id="rId14" Type="http://schemas.openxmlformats.org/officeDocument/2006/relationships/image" Target="../media/image48.jpeg"/><Relationship Id="rId15" Type="http://schemas.openxmlformats.org/officeDocument/2006/relationships/image" Target="../media/image49.jpeg"/><Relationship Id="rId16" Type="http://schemas.openxmlformats.org/officeDocument/2006/relationships/image" Target="../media/image50.jpeg"/><Relationship Id="rId17" Type="http://schemas.openxmlformats.org/officeDocument/2006/relationships/image" Target="../media/image51.jpeg"/><Relationship Id="rId18" Type="http://schemas.openxmlformats.org/officeDocument/2006/relationships/image" Target="../media/image52.jpeg"/><Relationship Id="rId19" Type="http://schemas.microsoft.com/office/2007/relationships/hdphoto" Target="../media/hdphoto13.wdp"/><Relationship Id="rId37" Type="http://schemas.openxmlformats.org/officeDocument/2006/relationships/image" Target="../media/image69.jpeg"/><Relationship Id="rId38" Type="http://schemas.openxmlformats.org/officeDocument/2006/relationships/image" Target="../media/image70.png"/><Relationship Id="rId39" Type="http://schemas.openxmlformats.org/officeDocument/2006/relationships/image" Target="../media/image71.jpeg"/><Relationship Id="rId40" Type="http://schemas.openxmlformats.org/officeDocument/2006/relationships/image" Target="../media/image72.jpeg"/><Relationship Id="rId41" Type="http://schemas.openxmlformats.org/officeDocument/2006/relationships/image" Target="../media/image73.jpeg"/><Relationship Id="rId42" Type="http://schemas.openxmlformats.org/officeDocument/2006/relationships/image" Target="../media/image74.jpeg"/><Relationship Id="rId43" Type="http://schemas.openxmlformats.org/officeDocument/2006/relationships/image" Target="../media/image75.jpeg"/><Relationship Id="rId44" Type="http://schemas.openxmlformats.org/officeDocument/2006/relationships/image" Target="../media/image76.jpeg"/><Relationship Id="rId45" Type="http://schemas.openxmlformats.org/officeDocument/2006/relationships/image" Target="../media/image77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8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g"/><Relationship Id="rId4" Type="http://schemas.openxmlformats.org/officeDocument/2006/relationships/image" Target="../media/image81.jpg"/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79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g"/><Relationship Id="rId4" Type="http://schemas.openxmlformats.org/officeDocument/2006/relationships/image" Target="../media/image81.jpg"/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79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g"/><Relationship Id="rId4" Type="http://schemas.openxmlformats.org/officeDocument/2006/relationships/image" Target="../media/image81.jpg"/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79.jp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image" Target="../media/image82.jpeg"/><Relationship Id="rId3" Type="http://schemas.openxmlformats.org/officeDocument/2006/relationships/image" Target="../media/image83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4" Type="http://schemas.openxmlformats.org/officeDocument/2006/relationships/image" Target="../media/image85.png"/><Relationship Id="rId5" Type="http://schemas.microsoft.com/office/2007/relationships/hdphoto" Target="../media/hdphoto15.wdp"/><Relationship Id="rId6" Type="http://schemas.openxmlformats.org/officeDocument/2006/relationships/image" Target="../media/image86.png"/><Relationship Id="rId7" Type="http://schemas.openxmlformats.org/officeDocument/2006/relationships/image" Target="../media/image87.png"/><Relationship Id="rId8" Type="http://schemas.openxmlformats.org/officeDocument/2006/relationships/image" Target="../media/image88.png"/><Relationship Id="rId9" Type="http://schemas.openxmlformats.org/officeDocument/2006/relationships/image" Target="../media/image89.png"/><Relationship Id="rId10" Type="http://schemas.openxmlformats.org/officeDocument/2006/relationships/image" Target="../media/image90.png"/><Relationship Id="rId11" Type="http://schemas.openxmlformats.org/officeDocument/2006/relationships/image" Target="../media/image91.png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4" Type="http://schemas.openxmlformats.org/officeDocument/2006/relationships/image" Target="../media/image93.png"/><Relationship Id="rId5" Type="http://schemas.openxmlformats.org/officeDocument/2006/relationships/image" Target="../media/image94.png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4" Type="http://schemas.openxmlformats.org/officeDocument/2006/relationships/image" Target="../media/image93.png"/><Relationship Id="rId5" Type="http://schemas.openxmlformats.org/officeDocument/2006/relationships/image" Target="../media/image95.jpg"/><Relationship Id="rId6" Type="http://schemas.openxmlformats.org/officeDocument/2006/relationships/image" Target="../media/image96.png"/><Relationship Id="rId7" Type="http://schemas.openxmlformats.org/officeDocument/2006/relationships/image" Target="../media/image97.png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8.jp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9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emf"/><Relationship Id="rId4" Type="http://schemas.openxmlformats.org/officeDocument/2006/relationships/image" Target="../media/image101.emf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99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02.jpe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03.jp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04.jp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105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06.jpg"/></Relationships>
</file>

<file path=ppt/slides/_rels/slide27.xml.rels><?xml version="1.0" encoding="UTF-8" standalone="yes"?>
<Relationships xmlns="http://schemas.openxmlformats.org/package/2006/relationships"><Relationship Id="rId20" Type="http://schemas.openxmlformats.org/officeDocument/2006/relationships/image" Target="../media/image125.png"/><Relationship Id="rId21" Type="http://schemas.openxmlformats.org/officeDocument/2006/relationships/image" Target="../media/image126.jpeg"/><Relationship Id="rId22" Type="http://schemas.openxmlformats.org/officeDocument/2006/relationships/image" Target="../media/image127.png"/><Relationship Id="rId23" Type="http://schemas.openxmlformats.org/officeDocument/2006/relationships/image" Target="../media/image128.jpeg"/><Relationship Id="rId24" Type="http://schemas.openxmlformats.org/officeDocument/2006/relationships/image" Target="../media/image129.jpeg"/><Relationship Id="rId25" Type="http://schemas.openxmlformats.org/officeDocument/2006/relationships/image" Target="../media/image130.png"/><Relationship Id="rId26" Type="http://schemas.openxmlformats.org/officeDocument/2006/relationships/image" Target="../media/image131.png"/><Relationship Id="rId27" Type="http://schemas.openxmlformats.org/officeDocument/2006/relationships/image" Target="../media/image132.png"/><Relationship Id="rId28" Type="http://schemas.openxmlformats.org/officeDocument/2006/relationships/image" Target="../media/image133.png"/><Relationship Id="rId29" Type="http://schemas.openxmlformats.org/officeDocument/2006/relationships/image" Target="../media/image134.jpeg"/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107.gif"/><Relationship Id="rId3" Type="http://schemas.openxmlformats.org/officeDocument/2006/relationships/image" Target="../media/image108.png"/><Relationship Id="rId4" Type="http://schemas.openxmlformats.org/officeDocument/2006/relationships/image" Target="../media/image109.png"/><Relationship Id="rId5" Type="http://schemas.openxmlformats.org/officeDocument/2006/relationships/image" Target="../media/image110.png"/><Relationship Id="rId30" Type="http://schemas.openxmlformats.org/officeDocument/2006/relationships/image" Target="../media/image135.png"/><Relationship Id="rId31" Type="http://schemas.openxmlformats.org/officeDocument/2006/relationships/image" Target="../media/image136.png"/><Relationship Id="rId32" Type="http://schemas.openxmlformats.org/officeDocument/2006/relationships/image" Target="../media/image137.png"/><Relationship Id="rId9" Type="http://schemas.openxmlformats.org/officeDocument/2006/relationships/image" Target="../media/image114.png"/><Relationship Id="rId6" Type="http://schemas.openxmlformats.org/officeDocument/2006/relationships/image" Target="../media/image111.png"/><Relationship Id="rId7" Type="http://schemas.openxmlformats.org/officeDocument/2006/relationships/image" Target="../media/image112.png"/><Relationship Id="rId8" Type="http://schemas.openxmlformats.org/officeDocument/2006/relationships/image" Target="../media/image113.jpeg"/><Relationship Id="rId33" Type="http://schemas.openxmlformats.org/officeDocument/2006/relationships/image" Target="../media/image138.png"/><Relationship Id="rId34" Type="http://schemas.openxmlformats.org/officeDocument/2006/relationships/image" Target="../media/image139.png"/><Relationship Id="rId35" Type="http://schemas.openxmlformats.org/officeDocument/2006/relationships/image" Target="../media/image140.png"/><Relationship Id="rId36" Type="http://schemas.openxmlformats.org/officeDocument/2006/relationships/image" Target="../media/image141.png"/><Relationship Id="rId10" Type="http://schemas.openxmlformats.org/officeDocument/2006/relationships/image" Target="../media/image115.png"/><Relationship Id="rId11" Type="http://schemas.openxmlformats.org/officeDocument/2006/relationships/image" Target="../media/image116.png"/><Relationship Id="rId12" Type="http://schemas.openxmlformats.org/officeDocument/2006/relationships/image" Target="../media/image117.jpeg"/><Relationship Id="rId13" Type="http://schemas.openxmlformats.org/officeDocument/2006/relationships/image" Target="../media/image118.jpeg"/><Relationship Id="rId14" Type="http://schemas.openxmlformats.org/officeDocument/2006/relationships/image" Target="../media/image119.jpeg"/><Relationship Id="rId15" Type="http://schemas.openxmlformats.org/officeDocument/2006/relationships/image" Target="../media/image120.jpeg"/><Relationship Id="rId16" Type="http://schemas.openxmlformats.org/officeDocument/2006/relationships/image" Target="../media/image121.jpeg"/><Relationship Id="rId17" Type="http://schemas.openxmlformats.org/officeDocument/2006/relationships/image" Target="../media/image122.jpeg"/><Relationship Id="rId18" Type="http://schemas.openxmlformats.org/officeDocument/2006/relationships/image" Target="../media/image123.jpeg"/><Relationship Id="rId19" Type="http://schemas.openxmlformats.org/officeDocument/2006/relationships/image" Target="../media/image124.png"/><Relationship Id="rId37" Type="http://schemas.openxmlformats.org/officeDocument/2006/relationships/image" Target="../media/image14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4" Type="http://schemas.openxmlformats.org/officeDocument/2006/relationships/image" Target="../media/image21.png"/><Relationship Id="rId5" Type="http://schemas.openxmlformats.org/officeDocument/2006/relationships/image" Target="../media/image22.jpg"/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4" Type="http://schemas.microsoft.com/office/2007/relationships/hdphoto" Target="../media/hdphoto5.wdp"/><Relationship Id="rId5" Type="http://schemas.openxmlformats.org/officeDocument/2006/relationships/image" Target="../media/image24.png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5.jp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8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4" Type="http://schemas.openxmlformats.org/officeDocument/2006/relationships/image" Target="../media/image31.jpeg"/><Relationship Id="rId5" Type="http://schemas.openxmlformats.org/officeDocument/2006/relationships/image" Target="../media/image32.jpeg"/><Relationship Id="rId6" Type="http://schemas.openxmlformats.org/officeDocument/2006/relationships/image" Target="../media/image33.jpeg"/><Relationship Id="rId7" Type="http://schemas.openxmlformats.org/officeDocument/2006/relationships/image" Target="../media/image34.jpeg"/><Relationship Id="rId8" Type="http://schemas.openxmlformats.org/officeDocument/2006/relationships/image" Target="../media/image35.jpeg"/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2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11938000" y="6502400"/>
            <a:ext cx="212725" cy="2301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endParaRPr lang="en-IN" sz="9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98715" y="6007289"/>
            <a:ext cx="257250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b="1" dirty="0">
                <a:solidFill>
                  <a:schemeClr val="bg1"/>
                </a:solidFill>
              </a:rPr>
              <a:t>www.sterlitetech.com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IN" dirty="0" smtClean="0"/>
              <a:t>STL Solution for Physical Security</a:t>
            </a:r>
            <a:endParaRPr lang="en-IN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98715" y="3192878"/>
            <a:ext cx="6289780" cy="2814411"/>
          </a:xfrm>
        </p:spPr>
        <p:txBody>
          <a:bodyPr/>
          <a:lstStyle/>
          <a:p>
            <a:r>
              <a:rPr lang="en-GB" sz="6600" b="0" dirty="0" err="1" smtClean="0"/>
              <a:t>Sensron</a:t>
            </a:r>
            <a:r>
              <a:rPr lang="en-GB" sz="6600" b="0" dirty="0" smtClean="0"/>
              <a:t>+ </a:t>
            </a:r>
            <a:endParaRPr lang="en-GB" sz="6600" b="0" dirty="0"/>
          </a:p>
        </p:txBody>
      </p:sp>
      <p:pic>
        <p:nvPicPr>
          <p:cNvPr id="7" name="Picture Placeholder 6"/>
          <p:cNvPicPr>
            <a:picLocks noGrp="1" noChangeAspect="1"/>
          </p:cNvPicPr>
          <p:nvPr>
            <p:ph type="pic" sz="quarter" idx="1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053" r="30053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48541004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oup 39"/>
          <p:cNvGrpSpPr/>
          <p:nvPr/>
        </p:nvGrpSpPr>
        <p:grpSpPr>
          <a:xfrm>
            <a:off x="463639" y="2578808"/>
            <a:ext cx="4055175" cy="4026780"/>
            <a:chOff x="453661" y="1813865"/>
            <a:chExt cx="4613966" cy="5135602"/>
          </a:xfrm>
        </p:grpSpPr>
        <p:pic>
          <p:nvPicPr>
            <p:cNvPr id="41" name="Picture 4" descr="Related image"/>
            <p:cNvPicPr>
              <a:picLocks noChangeAspect="1" noChangeArrowheads="1"/>
            </p:cNvPicPr>
            <p:nvPr/>
          </p:nvPicPr>
          <p:blipFill>
            <a:blip r:embed="rId3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345872">
              <a:off x="554016" y="5204437"/>
              <a:ext cx="2418426" cy="1612284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6" descr="F:\Working Directory\Pooja Ghosh\Official\AS\AAI\d98b2aee62df41e1b8e3e4ad06b0de08.0.jpg"/>
            <p:cNvPicPr>
              <a:picLocks noChangeAspect="1" noChangeArrowheads="1"/>
            </p:cNvPicPr>
            <p:nvPr/>
          </p:nvPicPr>
          <p:blipFill>
            <a:blip r:embed="rId5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1232452">
              <a:off x="453661" y="3247562"/>
              <a:ext cx="2619137" cy="17046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2" descr="F:\Working Directory\Pooja Ghosh\Official\AS\AAI\b3566b6033244ba983b1e28adefff61a.0.jpg"/>
            <p:cNvPicPr>
              <a:picLocks noChangeAspect="1" noChangeArrowheads="1"/>
            </p:cNvPicPr>
            <p:nvPr/>
          </p:nvPicPr>
          <p:blipFill rotWithShape="1">
            <a:blip r:embed="rId6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68"/>
            <a:stretch/>
          </p:blipFill>
          <p:spPr bwMode="auto">
            <a:xfrm rot="20963024">
              <a:off x="2902530" y="5308296"/>
              <a:ext cx="2165097" cy="16411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2" descr="Related image"/>
            <p:cNvPicPr>
              <a:picLocks noChangeAspect="1" noChangeArrowheads="1"/>
            </p:cNvPicPr>
            <p:nvPr/>
          </p:nvPicPr>
          <p:blipFill>
            <a:blip r:embed="rId7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21061" y="3366440"/>
              <a:ext cx="2003155" cy="1113288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5" name="Picture 5" descr="F:\Working Directory\Pooja Ghosh\Official\AS\AAI\116752d0eedb452a9c553e2ed43be50b.0.jpg"/>
            <p:cNvPicPr>
              <a:picLocks noChangeAspect="1" noChangeArrowheads="1"/>
            </p:cNvPicPr>
            <p:nvPr/>
          </p:nvPicPr>
          <p:blipFill rotWithShape="1">
            <a:blip r:embed="rId9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345" t="12656"/>
            <a:stretch/>
          </p:blipFill>
          <p:spPr bwMode="auto">
            <a:xfrm rot="861248">
              <a:off x="2800694" y="1882647"/>
              <a:ext cx="2109244" cy="13338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6" name="Picture 8" descr="Related image"/>
            <p:cNvPicPr>
              <a:picLocks noChangeAspect="1" noChangeArrowheads="1"/>
            </p:cNvPicPr>
            <p:nvPr/>
          </p:nvPicPr>
          <p:blipFill>
            <a:blip r:embed="rId10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429526">
              <a:off x="466336" y="1813865"/>
              <a:ext cx="2268498" cy="1672102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0" name="Picture 2" descr="Image result for 2018 Sunjuwan attack"/>
            <p:cNvPicPr>
              <a:picLocks noChangeAspect="1" noChangeArrowheads="1"/>
            </p:cNvPicPr>
            <p:nvPr/>
          </p:nvPicPr>
          <p:blipFill>
            <a:blip r:embed="rId12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rightnessContrast bright="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76466">
              <a:off x="2435487" y="4469639"/>
              <a:ext cx="1852263" cy="1234841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cern Areas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t>1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>
                <a:solidFill>
                  <a:schemeClr val="bg2"/>
                </a:solidFill>
              </a:rPr>
              <a:t>© 2019-2020 </a:t>
            </a:r>
            <a:r>
              <a:rPr lang="en-IN" smtClean="0">
                <a:solidFill>
                  <a:schemeClr val="bg2"/>
                </a:solidFill>
              </a:rPr>
              <a:t>Sterlite Technologies Limited</a:t>
            </a:r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63639" y="1246905"/>
            <a:ext cx="4371597" cy="70788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4000" b="0" i="0" u="none" strike="noStrike" cap="none" spc="0" normalizeH="0" baseline="0" dirty="0" smtClean="0">
                <a:ln>
                  <a:noFill/>
                </a:ln>
                <a:solidFill>
                  <a:schemeClr val="bg2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Security</a:t>
            </a:r>
            <a:r>
              <a:rPr kumimoji="0" lang="en-US" sz="4000" b="0" i="0" u="none" strike="noStrike" cap="none" spc="0" normalizeH="0" dirty="0" smtClean="0">
                <a:ln>
                  <a:noFill/>
                </a:ln>
                <a:solidFill>
                  <a:schemeClr val="bg2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 Breaches</a:t>
            </a:r>
            <a:endParaRPr kumimoji="0" lang="en-US" sz="4000" b="0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649437" y="1707830"/>
            <a:ext cx="1669966" cy="92332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54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India</a:t>
            </a:r>
            <a:endParaRPr kumimoji="0" lang="en-US" sz="5400" b="0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10" name="Rectangle: Rounded Corners 1">
            <a:extLst>
              <a:ext uri="{FF2B5EF4-FFF2-40B4-BE49-F238E27FC236}">
                <a16:creationId xmlns:a16="http://schemas.microsoft.com/office/drawing/2014/main" xmlns="" id="{697193E9-089F-1048-ACED-23DB2A1C272F}"/>
              </a:ext>
            </a:extLst>
          </p:cNvPr>
          <p:cNvSpPr/>
          <p:nvPr/>
        </p:nvSpPr>
        <p:spPr>
          <a:xfrm>
            <a:off x="4835236" y="1474708"/>
            <a:ext cx="6575166" cy="4598652"/>
          </a:xfrm>
          <a:prstGeom prst="roundRect">
            <a:avLst>
              <a:gd name="adj" fmla="val 10887"/>
            </a:avLst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>
            <a:outerShdw blurRad="190500" sx="102000" sy="102000" algn="ctr" rotWithShape="0">
              <a:prstClr val="black">
                <a:alpha val="5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IN" sz="1600" b="0" i="0" u="none" strike="noStrike" cap="none" spc="0" normalizeH="0" baseline="0">
              <a:ln>
                <a:noFill/>
              </a:ln>
              <a:solidFill>
                <a:schemeClr val="bg2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037627" y="1874347"/>
            <a:ext cx="6170384" cy="409342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285750" marR="0" indent="-28575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</a:pPr>
            <a:r>
              <a:rPr kumimoji="0" lang="en-IN" sz="2000" i="0" u="none" strike="noStrike" cap="none" spc="0" normalizeH="0" baseline="0" dirty="0" smtClean="0">
                <a:ln>
                  <a:noFill/>
                </a:ln>
                <a:solidFill>
                  <a:schemeClr val="bg2"/>
                </a:solidFill>
                <a:effectLst/>
                <a:uFillTx/>
                <a:sym typeface="Calibri"/>
              </a:rPr>
              <a:t>Defence</a:t>
            </a:r>
            <a:r>
              <a:rPr kumimoji="0" lang="en-IN" sz="2000" i="0" u="none" strike="noStrike" cap="none" spc="0" normalizeH="0" dirty="0" smtClean="0">
                <a:ln>
                  <a:noFill/>
                </a:ln>
                <a:solidFill>
                  <a:schemeClr val="bg2"/>
                </a:solidFill>
                <a:effectLst/>
                <a:uFillTx/>
                <a:sym typeface="Calibri"/>
              </a:rPr>
              <a:t> or Military personal wh</a:t>
            </a:r>
            <a:r>
              <a:rPr lang="en-IN" sz="2000" dirty="0" smtClean="0">
                <a:solidFill>
                  <a:schemeClr val="bg2"/>
                </a:solidFill>
              </a:rPr>
              <a:t>o are fighting all day all night to make sure we are safe, unfortunately themselves </a:t>
            </a:r>
            <a:r>
              <a:rPr lang="en-IN" sz="2000" b="1" dirty="0" smtClean="0">
                <a:solidFill>
                  <a:schemeClr val="bg2"/>
                </a:solidFill>
              </a:rPr>
              <a:t>don’t have desired level of security</a:t>
            </a:r>
          </a:p>
          <a:p>
            <a:pPr marL="285750" marR="0" indent="-28575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</a:pPr>
            <a:endParaRPr kumimoji="0" lang="en-IN" sz="2000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sym typeface="Calibri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IN" sz="2000" b="1" dirty="0">
                <a:solidFill>
                  <a:schemeClr val="bg2"/>
                </a:solidFill>
              </a:rPr>
              <a:t>More than a life is sacrificed daily </a:t>
            </a:r>
            <a:r>
              <a:rPr lang="en-IN" sz="2000" dirty="0">
                <a:solidFill>
                  <a:schemeClr val="bg2"/>
                </a:solidFill>
              </a:rPr>
              <a:t>for safeguarding us mango </a:t>
            </a:r>
            <a:r>
              <a:rPr lang="en-IN" sz="2000" dirty="0" smtClean="0">
                <a:solidFill>
                  <a:schemeClr val="bg2"/>
                </a:solidFill>
              </a:rPr>
              <a:t>people</a:t>
            </a:r>
          </a:p>
          <a:p>
            <a:pPr marL="285750" indent="-285750">
              <a:buFont typeface="Arial" pitchFamily="34" charset="0"/>
              <a:buChar char="•"/>
            </a:pPr>
            <a:endParaRPr lang="en-IN" sz="2000" dirty="0">
              <a:solidFill>
                <a:schemeClr val="bg2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IN" sz="2000" dirty="0">
                <a:solidFill>
                  <a:schemeClr val="bg2"/>
                </a:solidFill>
              </a:rPr>
              <a:t>Just </a:t>
            </a:r>
            <a:r>
              <a:rPr lang="en-IN" sz="2000" b="1" dirty="0">
                <a:solidFill>
                  <a:schemeClr val="bg2"/>
                </a:solidFill>
              </a:rPr>
              <a:t>Indian Army lost a soldier on duty every third day </a:t>
            </a:r>
            <a:r>
              <a:rPr lang="en-IN" sz="2000" dirty="0">
                <a:solidFill>
                  <a:schemeClr val="bg2"/>
                </a:solidFill>
              </a:rPr>
              <a:t>in past 13 years</a:t>
            </a:r>
          </a:p>
          <a:p>
            <a:pPr marL="285750" indent="-285750">
              <a:buFont typeface="Arial" pitchFamily="34" charset="0"/>
              <a:buChar char="•"/>
            </a:pPr>
            <a:endParaRPr lang="en-IN" sz="2000" dirty="0">
              <a:solidFill>
                <a:schemeClr val="bg2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IN" sz="2000" b="1" dirty="0">
                <a:solidFill>
                  <a:schemeClr val="bg2"/>
                </a:solidFill>
              </a:rPr>
              <a:t>Death of Jawans in terror attacks rose by 106</a:t>
            </a:r>
            <a:r>
              <a:rPr lang="en-IN" sz="2000" b="1" dirty="0" smtClean="0">
                <a:solidFill>
                  <a:schemeClr val="bg2"/>
                </a:solidFill>
              </a:rPr>
              <a:t>% </a:t>
            </a:r>
            <a:r>
              <a:rPr lang="en-IN" sz="2000" dirty="0" smtClean="0">
                <a:solidFill>
                  <a:schemeClr val="bg2"/>
                </a:solidFill>
              </a:rPr>
              <a:t>in </a:t>
            </a:r>
            <a:r>
              <a:rPr lang="en-IN" sz="2000" dirty="0">
                <a:solidFill>
                  <a:schemeClr val="bg2"/>
                </a:solidFill>
              </a:rPr>
              <a:t>just J&amp;K last </a:t>
            </a:r>
            <a:r>
              <a:rPr lang="en-IN" sz="2000" dirty="0" smtClean="0">
                <a:solidFill>
                  <a:schemeClr val="bg2"/>
                </a:solidFill>
              </a:rPr>
              <a:t>year</a:t>
            </a:r>
            <a:endParaRPr lang="en-IN" sz="2000" dirty="0">
              <a:solidFill>
                <a:schemeClr val="bg2"/>
              </a:solidFill>
            </a:endParaRPr>
          </a:p>
          <a:p>
            <a:pPr marL="285750" marR="0" indent="-28575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</a:pPr>
            <a:endParaRPr kumimoji="0" lang="en-IN" sz="2000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sym typeface="Calibri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012584" y="3775689"/>
            <a:ext cx="2379888" cy="70788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000" dirty="0" smtClean="0">
                <a:solidFill>
                  <a:schemeClr val="accent1">
                    <a:lumMod val="50000"/>
                  </a:schemeClr>
                </a:solidFill>
                <a:sym typeface="Calibri"/>
              </a:rPr>
              <a:t>Customer </a:t>
            </a:r>
            <a:endParaRPr kumimoji="0" lang="en-US" sz="4000" b="0" i="0" u="none" strike="noStrike" cap="none" spc="0" normalizeH="0" baseline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648581" y="4263604"/>
            <a:ext cx="3577320" cy="92332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>
            <a:defPPr>
              <a:defRPr lang="en-US"/>
            </a:defPPr>
            <a:lvl1pPr marR="0" indent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>
                <a:solidFill>
                  <a:srgbClr val="1B48C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sym typeface="Calibri"/>
              </a:rPr>
              <a:t>Pain </a:t>
            </a:r>
            <a:r>
              <a:rPr lang="en-US" dirty="0" smtClean="0">
                <a:sym typeface="Calibri"/>
              </a:rPr>
              <a:t>Points</a:t>
            </a:r>
            <a:endParaRPr lang="en-US" dirty="0">
              <a:sym typeface="Calibri"/>
            </a:endParaRPr>
          </a:p>
        </p:txBody>
      </p:sp>
      <p:sp>
        <p:nvSpPr>
          <p:cNvPr id="26" name="Rectangle: Rounded Corners 1">
            <a:extLst>
              <a:ext uri="{FF2B5EF4-FFF2-40B4-BE49-F238E27FC236}">
                <a16:creationId xmlns:a16="http://schemas.microsoft.com/office/drawing/2014/main" xmlns="" id="{697193E9-089F-1048-ACED-23DB2A1C272F}"/>
              </a:ext>
            </a:extLst>
          </p:cNvPr>
          <p:cNvSpPr/>
          <p:nvPr/>
        </p:nvSpPr>
        <p:spPr>
          <a:xfrm>
            <a:off x="4835236" y="2169494"/>
            <a:ext cx="6575166" cy="4598652"/>
          </a:xfrm>
          <a:prstGeom prst="roundRect">
            <a:avLst>
              <a:gd name="adj" fmla="val 10887"/>
            </a:avLst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>
            <a:outerShdw blurRad="190500" sx="102000" sy="102000" algn="ctr" rotWithShape="0">
              <a:prstClr val="black">
                <a:alpha val="5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IN" sz="1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5162463" y="3105453"/>
            <a:ext cx="6170384" cy="286232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>
            <a:defPPr>
              <a:defRPr lang="en-US"/>
            </a:defPPr>
            <a:lvl1pPr marL="285750" marR="0" indent="-28575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kumimoji="0" sz="2000" i="0" u="none" strike="noStrike" cap="none" spc="0" normalizeH="0" baseline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</a:defRPr>
            </a:lvl1pPr>
          </a:lstStyle>
          <a:p>
            <a:r>
              <a:rPr lang="en-IN" dirty="0"/>
              <a:t>Absence of </a:t>
            </a:r>
            <a:r>
              <a:rPr lang="en-IN" dirty="0" smtClean="0"/>
              <a:t>integrated </a:t>
            </a:r>
            <a:r>
              <a:rPr lang="en-IN" dirty="0"/>
              <a:t>approach &amp; </a:t>
            </a:r>
            <a:r>
              <a:rPr lang="en-IN" dirty="0" smtClean="0"/>
              <a:t>system</a:t>
            </a:r>
          </a:p>
          <a:p>
            <a:pPr marL="0" indent="0">
              <a:buNone/>
            </a:pPr>
            <a:endParaRPr lang="en-IN" dirty="0"/>
          </a:p>
          <a:p>
            <a:r>
              <a:rPr lang="en-US" dirty="0"/>
              <a:t>Unavoidable openings along </a:t>
            </a:r>
            <a:r>
              <a:rPr lang="en-US" dirty="0" smtClean="0"/>
              <a:t>perimeter</a:t>
            </a:r>
          </a:p>
          <a:p>
            <a:pPr marL="0" indent="0">
              <a:buNone/>
            </a:pPr>
            <a:endParaRPr lang="en-IN" dirty="0"/>
          </a:p>
          <a:p>
            <a:r>
              <a:rPr lang="en-IN" dirty="0"/>
              <a:t>Easy visibility &amp; access to close </a:t>
            </a:r>
            <a:r>
              <a:rPr lang="en-IN" dirty="0" smtClean="0"/>
              <a:t>outsiders</a:t>
            </a:r>
          </a:p>
          <a:p>
            <a:pPr marL="0" indent="0">
              <a:buNone/>
            </a:pPr>
            <a:endParaRPr lang="en-IN" dirty="0"/>
          </a:p>
          <a:p>
            <a:r>
              <a:rPr lang="en-IN" dirty="0"/>
              <a:t> </a:t>
            </a:r>
            <a:r>
              <a:rPr lang="en-IN" dirty="0" smtClean="0"/>
              <a:t>False </a:t>
            </a:r>
            <a:r>
              <a:rPr lang="en-IN" dirty="0"/>
              <a:t>alarms due to </a:t>
            </a:r>
            <a:r>
              <a:rPr lang="en-IN" dirty="0" smtClean="0"/>
              <a:t>animal intrusions</a:t>
            </a:r>
          </a:p>
          <a:p>
            <a:pPr marL="0" indent="0">
              <a:buNone/>
            </a:pPr>
            <a:endParaRPr lang="en-IN" dirty="0"/>
          </a:p>
          <a:p>
            <a:r>
              <a:rPr lang="en-US" dirty="0"/>
              <a:t> Harsh </a:t>
            </a:r>
            <a:r>
              <a:rPr lang="en-US" dirty="0" smtClean="0"/>
              <a:t>environmental </a:t>
            </a:r>
            <a:r>
              <a:rPr lang="en-US" dirty="0"/>
              <a:t>conditions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5336964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ounded Rectangle 176"/>
          <p:cNvSpPr/>
          <p:nvPr/>
        </p:nvSpPr>
        <p:spPr>
          <a:xfrm>
            <a:off x="3592288" y="926802"/>
            <a:ext cx="6535783" cy="5749065"/>
          </a:xfrm>
          <a:prstGeom prst="roundRect">
            <a:avLst/>
          </a:prstGeom>
          <a:solidFill>
            <a:schemeClr val="bg1">
              <a:alpha val="14000"/>
            </a:schemeClr>
          </a:solidFill>
          <a:ln w="38100" cap="flat">
            <a:solidFill>
              <a:srgbClr val="1B48C4"/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"/>
          </p:nvPr>
        </p:nvSpPr>
        <p:spPr>
          <a:xfrm>
            <a:off x="11924168" y="6518504"/>
            <a:ext cx="245751" cy="225709"/>
          </a:xfrm>
        </p:spPr>
        <p:txBody>
          <a:bodyPr/>
          <a:lstStyle/>
          <a:p>
            <a:fld id="{86CB4B4D-7CA3-9044-876B-883B54F8677D}" type="slidenum">
              <a:rPr lang="en-US" smtClean="0"/>
              <a:t>1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-389739" y="6605588"/>
            <a:ext cx="2774338" cy="280105"/>
          </a:xfrm>
        </p:spPr>
        <p:txBody>
          <a:bodyPr/>
          <a:lstStyle/>
          <a:p>
            <a:r>
              <a:rPr lang="en-US" smtClean="0"/>
              <a:t>© 2019-2020 </a:t>
            </a:r>
            <a:r>
              <a:rPr lang="en-IN" smtClean="0"/>
              <a:t>Sterlite Technologies Limited</a:t>
            </a:r>
            <a:endParaRPr lang="en-US" dirty="0"/>
          </a:p>
        </p:txBody>
      </p:sp>
      <p:grpSp>
        <p:nvGrpSpPr>
          <p:cNvPr id="78" name="Group 77"/>
          <p:cNvGrpSpPr/>
          <p:nvPr/>
        </p:nvGrpSpPr>
        <p:grpSpPr>
          <a:xfrm>
            <a:off x="10403153" y="2015377"/>
            <a:ext cx="1965754" cy="804371"/>
            <a:chOff x="4113734" y="1462930"/>
            <a:chExt cx="2719988" cy="1122088"/>
          </a:xfrm>
        </p:grpSpPr>
        <p:sp>
          <p:nvSpPr>
            <p:cNvPr id="79" name="Rectangle 78"/>
            <p:cNvSpPr/>
            <p:nvPr/>
          </p:nvSpPr>
          <p:spPr>
            <a:xfrm>
              <a:off x="4690885" y="1471730"/>
              <a:ext cx="1855420" cy="11044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5187655" y="1826158"/>
              <a:ext cx="1646067" cy="42934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14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Protection             </a:t>
              </a:r>
              <a:endPara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81" name="Oval 80"/>
            <p:cNvSpPr>
              <a:spLocks noChangeAspect="1"/>
            </p:cNvSpPr>
            <p:nvPr/>
          </p:nvSpPr>
          <p:spPr>
            <a:xfrm>
              <a:off x="4113734" y="1462930"/>
              <a:ext cx="1122088" cy="1122088"/>
            </a:xfrm>
            <a:prstGeom prst="ellipse">
              <a:avLst/>
            </a:prstGeom>
            <a:solidFill>
              <a:srgbClr val="1B48C4"/>
            </a:solidFill>
            <a:ln w="0">
              <a:noFill/>
              <a:prstDash val="solid"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vert="horz" wrap="square" lIns="71981" tIns="91416" rIns="71981" bIns="91416" numCol="1" anchor="ctr" anchorCtr="1" compatLnSpc="1">
              <a:prstTxWarp prst="textNoShape">
                <a:avLst/>
              </a:prstTxWarp>
            </a:bodyPr>
            <a:lstStyle/>
            <a:p>
              <a:r>
                <a:rPr lang="en-US" sz="1400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1</a:t>
              </a:r>
            </a:p>
          </p:txBody>
        </p:sp>
      </p:grpSp>
      <p:grpSp>
        <p:nvGrpSpPr>
          <p:cNvPr id="82" name="Group 81"/>
          <p:cNvGrpSpPr/>
          <p:nvPr/>
        </p:nvGrpSpPr>
        <p:grpSpPr>
          <a:xfrm>
            <a:off x="10403149" y="2851110"/>
            <a:ext cx="1940351" cy="802333"/>
            <a:chOff x="4113734" y="1462930"/>
            <a:chExt cx="2643412" cy="1122088"/>
          </a:xfrm>
        </p:grpSpPr>
        <p:sp>
          <p:nvSpPr>
            <p:cNvPr id="83" name="Rectangle 82"/>
            <p:cNvSpPr/>
            <p:nvPr/>
          </p:nvSpPr>
          <p:spPr>
            <a:xfrm>
              <a:off x="4690886" y="1471730"/>
              <a:ext cx="1802915" cy="11044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5157660" y="1886902"/>
              <a:ext cx="1599486" cy="30785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1400" dirty="0" smtClean="0"/>
                <a:t>Detection</a:t>
              </a:r>
              <a:endParaRPr lang="en-US" sz="1400" dirty="0"/>
            </a:p>
          </p:txBody>
        </p:sp>
        <p:sp>
          <p:nvSpPr>
            <p:cNvPr id="85" name="Oval 84"/>
            <p:cNvSpPr>
              <a:spLocks noChangeAspect="1"/>
            </p:cNvSpPr>
            <p:nvPr/>
          </p:nvSpPr>
          <p:spPr>
            <a:xfrm>
              <a:off x="4113734" y="1462930"/>
              <a:ext cx="1122088" cy="1122088"/>
            </a:xfrm>
            <a:prstGeom prst="ellipse">
              <a:avLst/>
            </a:prstGeom>
            <a:solidFill>
              <a:srgbClr val="1B48C4"/>
            </a:solidFill>
            <a:ln w="0">
              <a:noFill/>
              <a:prstDash val="solid"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vert="horz" wrap="square" lIns="71981" tIns="91416" rIns="71981" bIns="91416" numCol="1" anchor="ctr" anchorCtr="1" compatLnSpc="1">
              <a:prstTxWarp prst="textNoShape">
                <a:avLst/>
              </a:prstTxWarp>
            </a:bodyPr>
            <a:lstStyle/>
            <a:p>
              <a:r>
                <a:rPr lang="en-US" sz="14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2</a:t>
              </a:r>
              <a:endParaRPr lang="en-US" sz="1400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86" name="Group 85"/>
          <p:cNvGrpSpPr/>
          <p:nvPr/>
        </p:nvGrpSpPr>
        <p:grpSpPr>
          <a:xfrm>
            <a:off x="10425379" y="3703113"/>
            <a:ext cx="1923891" cy="808755"/>
            <a:chOff x="4113734" y="1462930"/>
            <a:chExt cx="2620892" cy="1122088"/>
          </a:xfrm>
        </p:grpSpPr>
        <p:sp>
          <p:nvSpPr>
            <p:cNvPr id="87" name="Rectangle 86"/>
            <p:cNvSpPr/>
            <p:nvPr/>
          </p:nvSpPr>
          <p:spPr>
            <a:xfrm>
              <a:off x="4690885" y="1471730"/>
              <a:ext cx="1768658" cy="11044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88" name="TextBox 87"/>
            <p:cNvSpPr txBox="1"/>
            <p:nvPr/>
          </p:nvSpPr>
          <p:spPr>
            <a:xfrm>
              <a:off x="5165534" y="1886903"/>
              <a:ext cx="1569092" cy="30785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1400" dirty="0" smtClean="0"/>
                <a:t>Verification</a:t>
              </a:r>
              <a:endParaRPr lang="en-US" sz="1400" dirty="0"/>
            </a:p>
          </p:txBody>
        </p:sp>
        <p:sp>
          <p:nvSpPr>
            <p:cNvPr id="89" name="Oval 88"/>
            <p:cNvSpPr>
              <a:spLocks noChangeAspect="1"/>
            </p:cNvSpPr>
            <p:nvPr/>
          </p:nvSpPr>
          <p:spPr>
            <a:xfrm>
              <a:off x="4113734" y="1462930"/>
              <a:ext cx="1122088" cy="1122088"/>
            </a:xfrm>
            <a:prstGeom prst="ellipse">
              <a:avLst/>
            </a:prstGeom>
            <a:solidFill>
              <a:srgbClr val="1B48C4"/>
            </a:solidFill>
            <a:ln w="0">
              <a:noFill/>
              <a:prstDash val="solid"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vert="horz" wrap="square" lIns="71981" tIns="91416" rIns="71981" bIns="91416" numCol="1" anchor="ctr" anchorCtr="1" compatLnSpc="1">
              <a:prstTxWarp prst="textNoShape">
                <a:avLst/>
              </a:prstTxWarp>
            </a:bodyPr>
            <a:lstStyle/>
            <a:p>
              <a:r>
                <a:rPr lang="en-US" sz="14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3</a:t>
              </a:r>
              <a:endParaRPr lang="en-US" sz="1400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90" name="Group 89"/>
          <p:cNvGrpSpPr/>
          <p:nvPr/>
        </p:nvGrpSpPr>
        <p:grpSpPr>
          <a:xfrm>
            <a:off x="10453091" y="4554600"/>
            <a:ext cx="1923890" cy="878585"/>
            <a:chOff x="4113734" y="1462930"/>
            <a:chExt cx="2579604" cy="1122088"/>
          </a:xfrm>
        </p:grpSpPr>
        <p:sp>
          <p:nvSpPr>
            <p:cNvPr id="91" name="Rectangle 90"/>
            <p:cNvSpPr/>
            <p:nvPr/>
          </p:nvSpPr>
          <p:spPr>
            <a:xfrm>
              <a:off x="4690885" y="1471730"/>
              <a:ext cx="1716402" cy="11044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92" name="TextBox 91"/>
            <p:cNvSpPr txBox="1"/>
            <p:nvPr/>
          </p:nvSpPr>
          <p:spPr>
            <a:xfrm>
              <a:off x="5170606" y="1834233"/>
              <a:ext cx="1522732" cy="30785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1400" dirty="0" smtClean="0"/>
                <a:t>Response</a:t>
              </a:r>
              <a:endParaRPr lang="en-US" sz="1400" dirty="0"/>
            </a:p>
          </p:txBody>
        </p:sp>
        <p:sp>
          <p:nvSpPr>
            <p:cNvPr id="93" name="Oval 92"/>
            <p:cNvSpPr>
              <a:spLocks noChangeAspect="1"/>
            </p:cNvSpPr>
            <p:nvPr/>
          </p:nvSpPr>
          <p:spPr>
            <a:xfrm>
              <a:off x="4113734" y="1462930"/>
              <a:ext cx="1122088" cy="1122088"/>
            </a:xfrm>
            <a:prstGeom prst="ellipse">
              <a:avLst/>
            </a:prstGeom>
            <a:solidFill>
              <a:srgbClr val="1B48C4"/>
            </a:solidFill>
            <a:ln w="0">
              <a:noFill/>
              <a:prstDash val="solid"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vert="horz" wrap="square" lIns="71981" tIns="91416" rIns="71981" bIns="91416" numCol="1" anchor="ctr" anchorCtr="1" compatLnSpc="1">
              <a:prstTxWarp prst="textNoShape">
                <a:avLst/>
              </a:prstTxWarp>
            </a:bodyPr>
            <a:lstStyle/>
            <a:p>
              <a:r>
                <a:rPr lang="en-US" sz="14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4</a:t>
              </a:r>
              <a:endParaRPr lang="en-US" sz="1400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4084420" y="1056195"/>
            <a:ext cx="5643921" cy="5501050"/>
            <a:chOff x="4562397" y="1235926"/>
            <a:chExt cx="5318809" cy="5367148"/>
          </a:xfrm>
        </p:grpSpPr>
        <p:sp>
          <p:nvSpPr>
            <p:cNvPr id="56" name="Flowchart: Connector 55"/>
            <p:cNvSpPr/>
            <p:nvPr/>
          </p:nvSpPr>
          <p:spPr>
            <a:xfrm>
              <a:off x="4562397" y="1235926"/>
              <a:ext cx="5318809" cy="5367148"/>
            </a:xfrm>
            <a:prstGeom prst="flowChartConnector">
              <a:avLst/>
            </a:prstGeom>
            <a:gradFill>
              <a:gsLst>
                <a:gs pos="0">
                  <a:srgbClr val="EB3345">
                    <a:alpha val="31000"/>
                  </a:srgbClr>
                </a:gs>
                <a:gs pos="35000">
                  <a:schemeClr val="accent2">
                    <a:tint val="37000"/>
                    <a:satMod val="300000"/>
                  </a:schemeClr>
                </a:gs>
                <a:gs pos="100000">
                  <a:schemeClr val="accent2">
                    <a:tint val="15000"/>
                    <a:satMod val="350000"/>
                    <a:alpha val="75000"/>
                  </a:schemeClr>
                </a:gs>
              </a:gsLst>
            </a:gradFill>
            <a:ln>
              <a:solidFill>
                <a:srgbClr val="EB3345">
                  <a:alpha val="53000"/>
                </a:srgbClr>
              </a:solidFill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57" name="Flowchart: Connector 56"/>
            <p:cNvSpPr/>
            <p:nvPr/>
          </p:nvSpPr>
          <p:spPr>
            <a:xfrm>
              <a:off x="5223209" y="1860915"/>
              <a:ext cx="4000924" cy="4165701"/>
            </a:xfrm>
            <a:prstGeom prst="flowChartConnector">
              <a:avLst/>
            </a:prstGeom>
            <a:gradFill>
              <a:gsLst>
                <a:gs pos="0">
                  <a:srgbClr val="EB3345">
                    <a:lumMod val="88000"/>
                    <a:alpha val="25000"/>
                  </a:srgbClr>
                </a:gs>
                <a:gs pos="100000">
                  <a:srgbClr val="EB3345">
                    <a:alpha val="35000"/>
                  </a:srgbClr>
                </a:gs>
              </a:gsLst>
            </a:gradFill>
            <a:ln>
              <a:solidFill>
                <a:srgbClr val="C00000">
                  <a:alpha val="38000"/>
                </a:srgbClr>
              </a:solidFill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58" name="Flowchart: Connector 57"/>
            <p:cNvSpPr/>
            <p:nvPr/>
          </p:nvSpPr>
          <p:spPr>
            <a:xfrm>
              <a:off x="5929350" y="2542059"/>
              <a:ext cx="2620124" cy="2803333"/>
            </a:xfrm>
            <a:prstGeom prst="flowChartConnector">
              <a:avLst/>
            </a:prstGeom>
            <a:solidFill>
              <a:srgbClr val="EB3345">
                <a:alpha val="88000"/>
              </a:srgbClr>
            </a:solidFill>
            <a:ln w="15875">
              <a:solidFill>
                <a:srgbClr val="C00000">
                  <a:alpha val="54000"/>
                </a:srgbClr>
              </a:solidFill>
            </a:ln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endParaRPr>
            </a:p>
          </p:txBody>
        </p:sp>
      </p:grpSp>
      <p:pic>
        <p:nvPicPr>
          <p:cNvPr id="59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5624" y="3547072"/>
            <a:ext cx="832104" cy="56903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" name="Picture 5" descr="Image result for perimeter lighting system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7047" y="1760664"/>
            <a:ext cx="836039" cy="60735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61" name="Picture 7" descr="Image result for surveillance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8153" y="2432131"/>
            <a:ext cx="834107" cy="60735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62" name="Picture 11" descr="Image result for under vehicle surveillance system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206" b="15802"/>
          <a:stretch/>
        </p:blipFill>
        <p:spPr bwMode="auto">
          <a:xfrm>
            <a:off x="9220742" y="3884475"/>
            <a:ext cx="711447" cy="43359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63" name="Picture 13" descr="Image result for bollard gate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102" b="14883"/>
          <a:stretch/>
        </p:blipFill>
        <p:spPr bwMode="auto">
          <a:xfrm>
            <a:off x="8263553" y="3547072"/>
            <a:ext cx="832104" cy="55523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65" name="Picture 6" descr="Related imag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7836" y="2388589"/>
            <a:ext cx="832104" cy="62821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66" name="Picture 10" descr="Related imag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1676" y="4781380"/>
            <a:ext cx="832104" cy="55523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67" name="Picture 14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aturation sat="200000"/>
                    </a14:imgEffect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8000" t="30357" r="39873" b="30182"/>
          <a:stretch/>
        </p:blipFill>
        <p:spPr bwMode="auto">
          <a:xfrm>
            <a:off x="5968951" y="1036865"/>
            <a:ext cx="579535" cy="37541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8" name="Picture 5" descr="F:\Working Directory\Pooja Ghosh\Official\Random\pl19059932-straight_line_razor_wire_galvanized_welded_razor_barbed_wire_mesh.jp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164" y="1215495"/>
            <a:ext cx="508021" cy="34432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69" name="Picture 2" descr="F:\Working Directory\Pooja Ghosh\Official\Random\flexzone-das-digitale-zaunmeldesystem-cb05e-produkt_fs.jpg"/>
          <p:cNvPicPr>
            <a:picLocks noChangeAspect="1"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86" t="14358" r="10484" b="34230"/>
          <a:stretch/>
        </p:blipFill>
        <p:spPr bwMode="auto">
          <a:xfrm>
            <a:off x="3998633" y="2464606"/>
            <a:ext cx="832104" cy="53539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70" name="Picture 3" descr="F:\Working Directory\Pooja Ghosh\Official\Random\Fiberpatrol-insert.jp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5112" y="3157173"/>
            <a:ext cx="832104" cy="55922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71" name="Picture 2" descr="F:\Working Directory\Pooja Ghosh\Official\Random\SmartGRATE21.jp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5112" y="3915232"/>
            <a:ext cx="832104" cy="55473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72" name="Picture 2" descr="F:\Working Directory\Pooja Ghosh\Official\Random\1457fc86f0761d1.jp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2148" y="965543"/>
            <a:ext cx="587264" cy="587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Picture 2" descr="F:\Working Directory\Pooja Ghosh\Official\Random\searchlight1600 (1)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8676" y="998673"/>
            <a:ext cx="631365" cy="631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2" descr="F:\Working Directory\Pooja Ghosh\Official\Random\FLIR-Thermal-Pan-Tilt-thumb-633231326.jp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56661" y="2493842"/>
            <a:ext cx="727305" cy="48365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76" name="Picture 4" descr="Image result for cctv camera"/>
          <p:cNvPicPr>
            <a:picLocks noChangeAspect="1" noChangeArrowheads="1"/>
          </p:cNvPicPr>
          <p:nvPr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697"/>
          <a:stretch/>
        </p:blipFill>
        <p:spPr bwMode="auto">
          <a:xfrm>
            <a:off x="7975289" y="1319421"/>
            <a:ext cx="661012" cy="46677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77" name="Picture 8" descr="Related image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3765" y="1802818"/>
            <a:ext cx="738806" cy="49253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94" name="Picture 9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7349" y="1876523"/>
            <a:ext cx="451897" cy="37564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5" name="Picture 10"/>
          <p:cNvPicPr>
            <a:picLocks noChangeAspect="1" noChangeArrowheads="1"/>
          </p:cNvPicPr>
          <p:nvPr/>
        </p:nvPicPr>
        <p:blipFill rotWithShape="1"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146"/>
          <a:stretch/>
        </p:blipFill>
        <p:spPr bwMode="auto">
          <a:xfrm>
            <a:off x="8990543" y="5133696"/>
            <a:ext cx="603105" cy="42251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" name="Picture 11"/>
          <p:cNvPicPr>
            <a:picLocks noChangeAspect="1" noChangeArrowheads="1"/>
          </p:cNvPicPr>
          <p:nvPr/>
        </p:nvPicPr>
        <p:blipFill rotWithShape="1"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41" b="30329"/>
          <a:stretch/>
        </p:blipFill>
        <p:spPr bwMode="auto">
          <a:xfrm flipH="1">
            <a:off x="9045139" y="4461076"/>
            <a:ext cx="876391" cy="45784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7" name="Picture 13" descr="Image result for ir illuminator in field"/>
          <p:cNvPicPr>
            <a:picLocks noChangeAspect="1" noChangeArrowheads="1"/>
          </p:cNvPicPr>
          <p:nvPr/>
        </p:nvPicPr>
        <p:blipFill rotWithShape="1"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865" b="20396"/>
          <a:stretch/>
        </p:blipFill>
        <p:spPr bwMode="auto">
          <a:xfrm>
            <a:off x="9238557" y="3157173"/>
            <a:ext cx="675818" cy="49918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98" name="Picture 14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3184" y="6184573"/>
            <a:ext cx="492535" cy="42493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9" name="Picture 2"/>
          <p:cNvPicPr>
            <a:picLocks noChangeAspect="1" noChangeArrowheads="1"/>
          </p:cNvPicPr>
          <p:nvPr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333" t="7603" r="36566" b="54082"/>
          <a:stretch/>
        </p:blipFill>
        <p:spPr bwMode="auto">
          <a:xfrm>
            <a:off x="8822683" y="5538557"/>
            <a:ext cx="132759" cy="222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0" name="Picture 2" descr="F:\Working Directory\Pooja Ghosh\Official\Random\freedom-lteiconHow-Route-Analytics-Can-Help-Manage-LTE-Networks.jpe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3716" y="6209068"/>
            <a:ext cx="451630" cy="45163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101" name="Picture 2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5680" y="2806602"/>
            <a:ext cx="1877672" cy="121862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" name="Picture 2" descr="C:\Users\pooja.ghosh\Desktop\network-operation-center-noc_89683.pn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8435" y="3507455"/>
            <a:ext cx="1800593" cy="1087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" name="Picture 25" descr="Image result for uav ideaforge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5015" y="6102248"/>
            <a:ext cx="730611" cy="4870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" name="Picture 27" descr="Image result for ir sensor outdoor"/>
          <p:cNvPicPr>
            <a:picLocks noChangeAspect="1" noChangeArrowheads="1"/>
          </p:cNvPicPr>
          <p:nvPr/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136" b="13602"/>
          <a:stretch/>
        </p:blipFill>
        <p:spPr bwMode="auto">
          <a:xfrm>
            <a:off x="5630350" y="6072771"/>
            <a:ext cx="405652" cy="24851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108" name="Picture 2" descr="F:\Working Directory\Pooja Ghosh\Official\Random\bullet-proof-vests-500x500.jp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9522" y="5747116"/>
            <a:ext cx="284879" cy="4632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" name="Picture 2" descr="F:\Working Directory\Pooja Ghosh\Official\Random\Lynx_LR6_c30d941130.jpg"/>
          <p:cNvPicPr>
            <a:picLocks noChangeAspect="1" noChangeArrowheads="1"/>
          </p:cNvPicPr>
          <p:nvPr/>
        </p:nvPicPr>
        <p:blipFill rotWithShape="1"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87" t="10203" r="12213" b="10690"/>
          <a:stretch/>
        </p:blipFill>
        <p:spPr bwMode="auto">
          <a:xfrm>
            <a:off x="8727967" y="5755283"/>
            <a:ext cx="322193" cy="2521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Picture 4" descr="F:\Working Directory\Pooja Ghosh\Official\Random\Fire-Alaram-System-Icon-1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8548" y="6085973"/>
            <a:ext cx="489713" cy="314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9"/>
          <p:cNvSpPr/>
          <p:nvPr/>
        </p:nvSpPr>
        <p:spPr>
          <a:xfrm>
            <a:off x="203955" y="1182571"/>
            <a:ext cx="2949859" cy="889153"/>
          </a:xfrm>
          <a:prstGeom prst="roundRect">
            <a:avLst/>
          </a:prstGeom>
          <a:noFill/>
          <a:ln w="12700" cap="flat">
            <a:solidFill>
              <a:srgbClr val="1B48C4"/>
            </a:solidFill>
            <a:prstDash val="sysDot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xmlns="" id="{3F93145A-DB37-45EF-BFBE-683E97F1820B}"/>
              </a:ext>
            </a:extLst>
          </p:cNvPr>
          <p:cNvSpPr/>
          <p:nvPr/>
        </p:nvSpPr>
        <p:spPr>
          <a:xfrm>
            <a:off x="6507047" y="2170477"/>
            <a:ext cx="836039" cy="155723"/>
          </a:xfrm>
          <a:prstGeom prst="rect">
            <a:avLst/>
          </a:prstGeom>
          <a:solidFill>
            <a:srgbClr val="00AEEF">
              <a:alpha val="9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 smtClean="0"/>
              <a:t>Lighting</a:t>
            </a:r>
            <a:endParaRPr lang="en-IN" sz="700" b="1" dirty="0"/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xmlns="" id="{3F93145A-DB37-45EF-BFBE-683E97F1820B}"/>
              </a:ext>
            </a:extLst>
          </p:cNvPr>
          <p:cNvSpPr/>
          <p:nvPr/>
        </p:nvSpPr>
        <p:spPr>
          <a:xfrm>
            <a:off x="5129539" y="2760936"/>
            <a:ext cx="836039" cy="155723"/>
          </a:xfrm>
          <a:prstGeom prst="rect">
            <a:avLst/>
          </a:prstGeom>
          <a:solidFill>
            <a:srgbClr val="00AEEF">
              <a:alpha val="9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 smtClean="0"/>
              <a:t>Fencing</a:t>
            </a:r>
            <a:endParaRPr lang="en-IN" sz="700" b="1" dirty="0"/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xmlns="" id="{3F93145A-DB37-45EF-BFBE-683E97F1820B}"/>
              </a:ext>
            </a:extLst>
          </p:cNvPr>
          <p:cNvSpPr/>
          <p:nvPr/>
        </p:nvSpPr>
        <p:spPr>
          <a:xfrm>
            <a:off x="4785624" y="3625250"/>
            <a:ext cx="836039" cy="155723"/>
          </a:xfrm>
          <a:prstGeom prst="rect">
            <a:avLst/>
          </a:prstGeom>
          <a:solidFill>
            <a:schemeClr val="tx2"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 smtClean="0"/>
              <a:t>OFC based PIDS</a:t>
            </a:r>
            <a:endParaRPr lang="en-IN" sz="700" b="1" dirty="0"/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xmlns="" id="{3F93145A-DB37-45EF-BFBE-683E97F1820B}"/>
              </a:ext>
            </a:extLst>
          </p:cNvPr>
          <p:cNvSpPr/>
          <p:nvPr/>
        </p:nvSpPr>
        <p:spPr>
          <a:xfrm>
            <a:off x="5197741" y="4903274"/>
            <a:ext cx="836039" cy="155723"/>
          </a:xfrm>
          <a:prstGeom prst="rect">
            <a:avLst/>
          </a:prstGeom>
          <a:solidFill>
            <a:schemeClr val="tx2"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 smtClean="0"/>
              <a:t>Miscellaneous</a:t>
            </a:r>
            <a:endParaRPr lang="en-IN" sz="700" b="1" dirty="0"/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xmlns="" id="{3F93145A-DB37-45EF-BFBE-683E97F1820B}"/>
              </a:ext>
            </a:extLst>
          </p:cNvPr>
          <p:cNvSpPr/>
          <p:nvPr/>
        </p:nvSpPr>
        <p:spPr>
          <a:xfrm>
            <a:off x="8263553" y="3716268"/>
            <a:ext cx="832104" cy="155723"/>
          </a:xfrm>
          <a:prstGeom prst="rect">
            <a:avLst/>
          </a:prstGeom>
          <a:solidFill>
            <a:schemeClr val="tx2"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 smtClean="0"/>
              <a:t>Access Control</a:t>
            </a:r>
            <a:endParaRPr lang="en-IN" sz="700" b="1" dirty="0"/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xmlns="" id="{3F93145A-DB37-45EF-BFBE-683E97F1820B}"/>
              </a:ext>
            </a:extLst>
          </p:cNvPr>
          <p:cNvSpPr/>
          <p:nvPr/>
        </p:nvSpPr>
        <p:spPr>
          <a:xfrm>
            <a:off x="7895220" y="2435685"/>
            <a:ext cx="836039" cy="155723"/>
          </a:xfrm>
          <a:prstGeom prst="rect">
            <a:avLst/>
          </a:prstGeom>
          <a:solidFill>
            <a:schemeClr val="tx2"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 smtClean="0"/>
              <a:t>Surveillance</a:t>
            </a:r>
            <a:endParaRPr lang="en-IN" sz="700" b="1" dirty="0"/>
          </a:p>
        </p:txBody>
      </p:sp>
      <p:pic>
        <p:nvPicPr>
          <p:cNvPr id="120" name="Picture 20" descr="Image result for ert team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6500" y="4781380"/>
            <a:ext cx="833105" cy="60342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sp>
        <p:nvSpPr>
          <p:cNvPr id="121" name="Rectangle 120">
            <a:extLst>
              <a:ext uri="{FF2B5EF4-FFF2-40B4-BE49-F238E27FC236}">
                <a16:creationId xmlns:a16="http://schemas.microsoft.com/office/drawing/2014/main" xmlns="" id="{3F93145A-DB37-45EF-BFBE-683E97F1820B}"/>
              </a:ext>
            </a:extLst>
          </p:cNvPr>
          <p:cNvSpPr/>
          <p:nvPr/>
        </p:nvSpPr>
        <p:spPr>
          <a:xfrm>
            <a:off x="7841524" y="4947290"/>
            <a:ext cx="836039" cy="155723"/>
          </a:xfrm>
          <a:prstGeom prst="rect">
            <a:avLst/>
          </a:prstGeom>
          <a:solidFill>
            <a:schemeClr val="tx2"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50" b="1" dirty="0" smtClean="0"/>
              <a:t>End Elements QRT</a:t>
            </a:r>
            <a:endParaRPr lang="en-IN" sz="650" b="1" dirty="0"/>
          </a:p>
        </p:txBody>
      </p:sp>
      <p:pic>
        <p:nvPicPr>
          <p:cNvPr id="3074" name="Picture 2" descr="Image result for authentication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4851" y="5301766"/>
            <a:ext cx="858235" cy="57958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sp>
        <p:nvSpPr>
          <p:cNvPr id="116" name="Rectangle 115">
            <a:extLst>
              <a:ext uri="{FF2B5EF4-FFF2-40B4-BE49-F238E27FC236}">
                <a16:creationId xmlns:a16="http://schemas.microsoft.com/office/drawing/2014/main" xmlns="" id="{3F93145A-DB37-45EF-BFBE-683E97F1820B}"/>
              </a:ext>
            </a:extLst>
          </p:cNvPr>
          <p:cNvSpPr/>
          <p:nvPr/>
        </p:nvSpPr>
        <p:spPr>
          <a:xfrm>
            <a:off x="6484851" y="5683111"/>
            <a:ext cx="858235" cy="155723"/>
          </a:xfrm>
          <a:prstGeom prst="rect">
            <a:avLst/>
          </a:prstGeom>
          <a:solidFill>
            <a:srgbClr val="00AEEF">
              <a:alpha val="9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/>
              <a:t>CCC IT infra</a:t>
            </a:r>
            <a:endParaRPr lang="en-IN" sz="700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6320174" y="4569989"/>
            <a:ext cx="1417113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Integrated</a:t>
            </a:r>
            <a:r>
              <a:rPr kumimoji="0" lang="en-US" sz="1000" b="1" i="0" u="none" strike="noStrike" cap="none" spc="0" normalizeH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 Command &amp; Control Center</a:t>
            </a:r>
            <a:endParaRPr kumimoji="0" lang="en-US" sz="10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23" name="TextBox 122"/>
          <p:cNvSpPr txBox="1"/>
          <p:nvPr/>
        </p:nvSpPr>
        <p:spPr>
          <a:xfrm>
            <a:off x="4135357" y="5166044"/>
            <a:ext cx="446754" cy="2154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800" b="1" i="0" u="none" strike="noStrike" cap="none" spc="0" normalizeH="0" baseline="0" dirty="0" smtClean="0">
                <a:ln>
                  <a:noFill/>
                </a:ln>
                <a:solidFill>
                  <a:srgbClr val="1B48B6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RADAR</a:t>
            </a:r>
            <a:endParaRPr kumimoji="0" lang="en-US" sz="800" b="1" i="0" u="none" strike="noStrike" cap="none" spc="0" normalizeH="0" baseline="0" dirty="0">
              <a:ln>
                <a:noFill/>
              </a:ln>
              <a:solidFill>
                <a:srgbClr val="1B48B6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24" name="TextBox 123"/>
          <p:cNvSpPr txBox="1"/>
          <p:nvPr/>
        </p:nvSpPr>
        <p:spPr>
          <a:xfrm>
            <a:off x="4481020" y="5587156"/>
            <a:ext cx="446754" cy="2154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800" b="1" i="0" u="none" strike="noStrike" cap="none" spc="0" normalizeH="0" baseline="0" dirty="0" err="1" smtClean="0">
                <a:ln>
                  <a:noFill/>
                </a:ln>
                <a:solidFill>
                  <a:srgbClr val="1B48B6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LiDAR</a:t>
            </a:r>
            <a:endParaRPr kumimoji="0" lang="en-US" sz="800" b="1" i="0" u="none" strike="noStrike" cap="none" spc="0" normalizeH="0" baseline="0" dirty="0">
              <a:ln>
                <a:noFill/>
              </a:ln>
              <a:solidFill>
                <a:srgbClr val="1B48B6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25" name="TextBox 124"/>
          <p:cNvSpPr txBox="1"/>
          <p:nvPr/>
        </p:nvSpPr>
        <p:spPr>
          <a:xfrm>
            <a:off x="5186330" y="6197937"/>
            <a:ext cx="446754" cy="2154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800" b="1" i="0" u="none" strike="noStrike" cap="none" spc="0" normalizeH="0" baseline="0" dirty="0" smtClean="0">
                <a:ln>
                  <a:noFill/>
                </a:ln>
                <a:solidFill>
                  <a:srgbClr val="1B48B6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UGS</a:t>
            </a:r>
            <a:endParaRPr kumimoji="0" lang="en-US" sz="800" b="1" i="0" u="none" strike="noStrike" cap="none" spc="0" normalizeH="0" baseline="0" dirty="0">
              <a:ln>
                <a:noFill/>
              </a:ln>
              <a:solidFill>
                <a:srgbClr val="1B48B6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26" name="TextBox 125"/>
          <p:cNvSpPr txBox="1"/>
          <p:nvPr/>
        </p:nvSpPr>
        <p:spPr>
          <a:xfrm>
            <a:off x="5582895" y="6295783"/>
            <a:ext cx="489069" cy="2154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800" b="1" i="0" u="none" strike="noStrike" cap="none" spc="0" normalizeH="0" baseline="0" dirty="0" smtClean="0">
                <a:ln>
                  <a:noFill/>
                </a:ln>
                <a:solidFill>
                  <a:srgbClr val="1B48B6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IR Sensor</a:t>
            </a:r>
            <a:endParaRPr kumimoji="0" lang="en-US" sz="800" b="1" i="0" u="none" strike="noStrike" cap="none" spc="0" normalizeH="0" baseline="0" dirty="0">
              <a:ln>
                <a:noFill/>
              </a:ln>
              <a:solidFill>
                <a:srgbClr val="1B48B6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27" name="TextBox 126"/>
          <p:cNvSpPr txBox="1"/>
          <p:nvPr/>
        </p:nvSpPr>
        <p:spPr>
          <a:xfrm>
            <a:off x="6118470" y="6460425"/>
            <a:ext cx="489069" cy="2154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800" b="1" i="0" u="none" strike="noStrike" cap="none" spc="0" normalizeH="0" baseline="0" dirty="0" smtClean="0">
                <a:ln>
                  <a:noFill/>
                </a:ln>
                <a:solidFill>
                  <a:srgbClr val="1B48B6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UAV</a:t>
            </a:r>
            <a:endParaRPr kumimoji="0" lang="en-US" sz="800" b="1" i="0" u="none" strike="noStrike" cap="none" spc="0" normalizeH="0" baseline="0" dirty="0">
              <a:ln>
                <a:noFill/>
              </a:ln>
              <a:solidFill>
                <a:srgbClr val="1B48B6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28" name="TextBox 127"/>
          <p:cNvSpPr txBox="1"/>
          <p:nvPr/>
        </p:nvSpPr>
        <p:spPr>
          <a:xfrm>
            <a:off x="3923883" y="4431070"/>
            <a:ext cx="489069" cy="2154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800" b="1" i="0" u="none" strike="noStrike" cap="none" spc="0" normalizeH="0" baseline="0" dirty="0" smtClean="0">
                <a:ln>
                  <a:noFill/>
                </a:ln>
                <a:solidFill>
                  <a:srgbClr val="1B48B6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DIDS</a:t>
            </a:r>
            <a:endParaRPr kumimoji="0" lang="en-US" sz="800" b="1" i="0" u="none" strike="noStrike" cap="none" spc="0" normalizeH="0" baseline="0" dirty="0">
              <a:ln>
                <a:noFill/>
              </a:ln>
              <a:solidFill>
                <a:srgbClr val="1B48B6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3952160" y="3672668"/>
            <a:ext cx="489069" cy="2154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800" b="1" i="0" u="none" strike="noStrike" cap="none" spc="0" normalizeH="0" baseline="0" dirty="0" smtClean="0">
                <a:ln>
                  <a:noFill/>
                </a:ln>
                <a:solidFill>
                  <a:srgbClr val="1B48B6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UVDS</a:t>
            </a:r>
            <a:endParaRPr kumimoji="0" lang="en-US" sz="800" b="1" i="0" u="none" strike="noStrike" cap="none" spc="0" normalizeH="0" baseline="0" dirty="0">
              <a:ln>
                <a:noFill/>
              </a:ln>
              <a:solidFill>
                <a:srgbClr val="1B48B6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30" name="TextBox 129"/>
          <p:cNvSpPr txBox="1"/>
          <p:nvPr/>
        </p:nvSpPr>
        <p:spPr>
          <a:xfrm>
            <a:off x="4166095" y="2958530"/>
            <a:ext cx="489069" cy="2154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800" b="1" dirty="0" smtClean="0">
                <a:solidFill>
                  <a:srgbClr val="1B48B6"/>
                </a:solidFill>
              </a:rPr>
              <a:t>PIDS</a:t>
            </a:r>
            <a:endParaRPr kumimoji="0" lang="en-US" sz="800" b="1" i="0" u="none" strike="noStrike" cap="none" spc="0" normalizeH="0" baseline="0" dirty="0">
              <a:ln>
                <a:noFill/>
              </a:ln>
              <a:solidFill>
                <a:srgbClr val="1B48B6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31" name="TextBox 130"/>
          <p:cNvSpPr txBox="1"/>
          <p:nvPr/>
        </p:nvSpPr>
        <p:spPr>
          <a:xfrm>
            <a:off x="4509724" y="2179758"/>
            <a:ext cx="489069" cy="2154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800" b="1" dirty="0" smtClean="0">
                <a:solidFill>
                  <a:srgbClr val="1B48B6"/>
                </a:solidFill>
              </a:rPr>
              <a:t>ESPF</a:t>
            </a:r>
            <a:endParaRPr kumimoji="0" lang="en-US" sz="800" b="1" i="0" u="none" strike="noStrike" cap="none" spc="0" normalizeH="0" baseline="0" dirty="0">
              <a:ln>
                <a:noFill/>
              </a:ln>
              <a:solidFill>
                <a:srgbClr val="1B48B6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32" name="TextBox 131"/>
          <p:cNvSpPr txBox="1"/>
          <p:nvPr/>
        </p:nvSpPr>
        <p:spPr>
          <a:xfrm>
            <a:off x="5800900" y="1387655"/>
            <a:ext cx="896169" cy="20005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700" b="1" dirty="0" smtClean="0">
                <a:solidFill>
                  <a:srgbClr val="1B48B6"/>
                </a:solidFill>
              </a:rPr>
              <a:t>Y Beam, Concertina</a:t>
            </a:r>
            <a:endParaRPr kumimoji="0" lang="en-US" sz="700" b="1" i="0" u="none" strike="noStrike" cap="none" spc="0" normalizeH="0" baseline="0" dirty="0">
              <a:ln>
                <a:noFill/>
              </a:ln>
              <a:solidFill>
                <a:srgbClr val="1B48B6"/>
              </a:solidFill>
              <a:effectLst/>
              <a:uFillTx/>
              <a:sym typeface="Calibri"/>
            </a:endParaRPr>
          </a:p>
        </p:txBody>
      </p:sp>
      <p:sp>
        <p:nvSpPr>
          <p:cNvPr id="133" name="TextBox 132"/>
          <p:cNvSpPr txBox="1"/>
          <p:nvPr/>
        </p:nvSpPr>
        <p:spPr>
          <a:xfrm>
            <a:off x="5381809" y="1517559"/>
            <a:ext cx="502550" cy="20005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700" b="1" dirty="0" smtClean="0">
                <a:solidFill>
                  <a:srgbClr val="1B48B6"/>
                </a:solidFill>
              </a:rPr>
              <a:t>Anti Climb</a:t>
            </a:r>
            <a:endParaRPr kumimoji="0" lang="en-US" sz="700" b="1" i="0" u="none" strike="noStrike" cap="none" spc="0" normalizeH="0" baseline="0" dirty="0">
              <a:ln>
                <a:noFill/>
              </a:ln>
              <a:solidFill>
                <a:srgbClr val="1B48B6"/>
              </a:solidFill>
              <a:effectLst/>
              <a:uFillTx/>
              <a:sym typeface="Calibri"/>
            </a:endParaRPr>
          </a:p>
        </p:txBody>
      </p:sp>
      <p:sp>
        <p:nvSpPr>
          <p:cNvPr id="134" name="TextBox 133"/>
          <p:cNvSpPr txBox="1"/>
          <p:nvPr/>
        </p:nvSpPr>
        <p:spPr>
          <a:xfrm>
            <a:off x="6729744" y="1295166"/>
            <a:ext cx="601001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700" b="1" dirty="0" smtClean="0">
                <a:solidFill>
                  <a:srgbClr val="1B48B6"/>
                </a:solidFill>
              </a:rPr>
              <a:t>Perimeter Light</a:t>
            </a:r>
            <a:endParaRPr kumimoji="0" lang="en-US" sz="700" b="1" i="0" u="none" strike="noStrike" cap="none" spc="0" normalizeH="0" baseline="0" dirty="0">
              <a:ln>
                <a:noFill/>
              </a:ln>
              <a:solidFill>
                <a:srgbClr val="1B48B6"/>
              </a:solidFill>
              <a:effectLst/>
              <a:uFillTx/>
              <a:sym typeface="Calibri"/>
            </a:endParaRPr>
          </a:p>
        </p:txBody>
      </p:sp>
      <p:sp>
        <p:nvSpPr>
          <p:cNvPr id="135" name="TextBox 134"/>
          <p:cNvSpPr txBox="1"/>
          <p:nvPr/>
        </p:nvSpPr>
        <p:spPr>
          <a:xfrm>
            <a:off x="7447433" y="1353123"/>
            <a:ext cx="520236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700" b="1" dirty="0" smtClean="0">
                <a:solidFill>
                  <a:srgbClr val="1B48B6"/>
                </a:solidFill>
              </a:rPr>
              <a:t>Search Light</a:t>
            </a:r>
            <a:endParaRPr kumimoji="0" lang="en-US" sz="700" b="1" i="0" u="none" strike="noStrike" cap="none" spc="0" normalizeH="0" baseline="0" dirty="0">
              <a:ln>
                <a:noFill/>
              </a:ln>
              <a:solidFill>
                <a:srgbClr val="1B48B6"/>
              </a:solidFill>
              <a:effectLst/>
              <a:uFillTx/>
              <a:sym typeface="Calibri"/>
            </a:endParaRPr>
          </a:p>
        </p:txBody>
      </p:sp>
      <p:sp>
        <p:nvSpPr>
          <p:cNvPr id="136" name="TextBox 135"/>
          <p:cNvSpPr txBox="1"/>
          <p:nvPr/>
        </p:nvSpPr>
        <p:spPr>
          <a:xfrm>
            <a:off x="8061260" y="1747242"/>
            <a:ext cx="575041" cy="20005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ctr">
              <a:defRPr sz="700" b="1">
                <a:solidFill>
                  <a:srgbClr val="1B48B6"/>
                </a:solidFill>
              </a:defRPr>
            </a:lvl1pPr>
          </a:lstStyle>
          <a:p>
            <a:r>
              <a:rPr lang="en-US" dirty="0"/>
              <a:t>Fixed CCTV</a:t>
            </a:r>
          </a:p>
        </p:txBody>
      </p:sp>
      <p:sp>
        <p:nvSpPr>
          <p:cNvPr id="137" name="TextBox 136"/>
          <p:cNvSpPr txBox="1"/>
          <p:nvPr/>
        </p:nvSpPr>
        <p:spPr>
          <a:xfrm>
            <a:off x="8769141" y="2249339"/>
            <a:ext cx="575041" cy="20005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ctr">
              <a:defRPr sz="700" b="1">
                <a:solidFill>
                  <a:srgbClr val="1B48B6"/>
                </a:solidFill>
              </a:defRPr>
            </a:lvl1pPr>
          </a:lstStyle>
          <a:p>
            <a:r>
              <a:rPr lang="en-US" dirty="0" smtClean="0"/>
              <a:t>PTZ IR</a:t>
            </a:r>
            <a:endParaRPr lang="en-US" dirty="0"/>
          </a:p>
        </p:txBody>
      </p:sp>
      <p:sp>
        <p:nvSpPr>
          <p:cNvPr id="138" name="TextBox 137"/>
          <p:cNvSpPr txBox="1"/>
          <p:nvPr/>
        </p:nvSpPr>
        <p:spPr>
          <a:xfrm>
            <a:off x="9166491" y="2924315"/>
            <a:ext cx="575041" cy="20005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ctr">
              <a:defRPr sz="700" b="1">
                <a:solidFill>
                  <a:srgbClr val="1B48B6"/>
                </a:solidFill>
              </a:defRPr>
            </a:lvl1pPr>
          </a:lstStyle>
          <a:p>
            <a:r>
              <a:rPr lang="en-US" dirty="0" smtClean="0"/>
              <a:t>PTZ Thermal</a:t>
            </a:r>
            <a:endParaRPr lang="en-US" dirty="0"/>
          </a:p>
        </p:txBody>
      </p:sp>
      <p:sp>
        <p:nvSpPr>
          <p:cNvPr id="139" name="TextBox 138"/>
          <p:cNvSpPr txBox="1"/>
          <p:nvPr/>
        </p:nvSpPr>
        <p:spPr>
          <a:xfrm>
            <a:off x="9303289" y="3615641"/>
            <a:ext cx="611086" cy="20005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ctr">
              <a:defRPr sz="700" b="1">
                <a:solidFill>
                  <a:srgbClr val="1B48B6"/>
                </a:solidFill>
              </a:defRPr>
            </a:lvl1pPr>
          </a:lstStyle>
          <a:p>
            <a:r>
              <a:rPr lang="en-US" dirty="0" smtClean="0"/>
              <a:t>IR Illuminator</a:t>
            </a:r>
            <a:endParaRPr lang="en-US" dirty="0"/>
          </a:p>
        </p:txBody>
      </p:sp>
      <p:sp>
        <p:nvSpPr>
          <p:cNvPr id="140" name="TextBox 139"/>
          <p:cNvSpPr txBox="1"/>
          <p:nvPr/>
        </p:nvSpPr>
        <p:spPr>
          <a:xfrm>
            <a:off x="9121978" y="3861041"/>
            <a:ext cx="611086" cy="20005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ctr">
              <a:defRPr sz="700" b="1">
                <a:solidFill>
                  <a:srgbClr val="1B48B6"/>
                </a:solidFill>
              </a:defRPr>
            </a:lvl1pPr>
          </a:lstStyle>
          <a:p>
            <a:r>
              <a:rPr lang="en-US" dirty="0" smtClean="0"/>
              <a:t>UVSS</a:t>
            </a:r>
            <a:endParaRPr lang="en-US" dirty="0"/>
          </a:p>
        </p:txBody>
      </p:sp>
      <p:sp>
        <p:nvSpPr>
          <p:cNvPr id="141" name="TextBox 140"/>
          <p:cNvSpPr txBox="1"/>
          <p:nvPr/>
        </p:nvSpPr>
        <p:spPr>
          <a:xfrm>
            <a:off x="9041809" y="4343262"/>
            <a:ext cx="599464" cy="29238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ctr">
              <a:defRPr sz="700" b="1">
                <a:solidFill>
                  <a:srgbClr val="1B48B6"/>
                </a:solidFill>
              </a:defRPr>
            </a:lvl1pPr>
          </a:lstStyle>
          <a:p>
            <a:r>
              <a:rPr lang="en-US" sz="650" dirty="0" smtClean="0"/>
              <a:t>Baggage Scanner</a:t>
            </a:r>
            <a:endParaRPr lang="en-US" sz="650" dirty="0"/>
          </a:p>
        </p:txBody>
      </p:sp>
      <p:sp>
        <p:nvSpPr>
          <p:cNvPr id="142" name="TextBox 141"/>
          <p:cNvSpPr txBox="1"/>
          <p:nvPr/>
        </p:nvSpPr>
        <p:spPr>
          <a:xfrm>
            <a:off x="9235560" y="5008178"/>
            <a:ext cx="679415" cy="29238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ctr">
              <a:defRPr sz="700" b="1">
                <a:solidFill>
                  <a:srgbClr val="1B48B6"/>
                </a:solidFill>
              </a:defRPr>
            </a:lvl1pPr>
          </a:lstStyle>
          <a:p>
            <a:r>
              <a:rPr lang="en-US" sz="650" dirty="0" smtClean="0"/>
              <a:t>Gates, Bollard, </a:t>
            </a:r>
            <a:r>
              <a:rPr lang="en-US" sz="650" dirty="0" err="1" smtClean="0"/>
              <a:t>Tyre</a:t>
            </a:r>
            <a:r>
              <a:rPr lang="en-US" sz="650" dirty="0" smtClean="0"/>
              <a:t> Killer</a:t>
            </a:r>
            <a:endParaRPr lang="en-US" sz="650" dirty="0"/>
          </a:p>
        </p:txBody>
      </p:sp>
      <p:sp>
        <p:nvSpPr>
          <p:cNvPr id="143" name="TextBox 142"/>
          <p:cNvSpPr txBox="1"/>
          <p:nvPr/>
        </p:nvSpPr>
        <p:spPr>
          <a:xfrm>
            <a:off x="8947188" y="5640013"/>
            <a:ext cx="404545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ctr">
              <a:defRPr sz="700" b="1">
                <a:solidFill>
                  <a:srgbClr val="1B48B6"/>
                </a:solidFill>
              </a:defRPr>
            </a:lvl1pPr>
          </a:lstStyle>
          <a:p>
            <a:r>
              <a:rPr lang="en-US" dirty="0" smtClean="0"/>
              <a:t>U/VHF, Tabs</a:t>
            </a:r>
            <a:endParaRPr lang="en-US" dirty="0"/>
          </a:p>
        </p:txBody>
      </p:sp>
      <p:sp>
        <p:nvSpPr>
          <p:cNvPr id="144" name="TextBox 143"/>
          <p:cNvSpPr txBox="1"/>
          <p:nvPr/>
        </p:nvSpPr>
        <p:spPr>
          <a:xfrm>
            <a:off x="8329968" y="6140044"/>
            <a:ext cx="489069" cy="2154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800" b="1" i="0" u="none" strike="noStrike" cap="none" spc="0" normalizeH="0" baseline="0" dirty="0" smtClean="0">
                <a:ln>
                  <a:noFill/>
                </a:ln>
                <a:solidFill>
                  <a:srgbClr val="1B48B6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PPG</a:t>
            </a:r>
            <a:endParaRPr kumimoji="0" lang="en-US" sz="800" b="1" i="0" u="none" strike="noStrike" cap="none" spc="0" normalizeH="0" baseline="0" dirty="0">
              <a:ln>
                <a:noFill/>
              </a:ln>
              <a:solidFill>
                <a:srgbClr val="1B48B6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45" name="TextBox 144"/>
          <p:cNvSpPr txBox="1"/>
          <p:nvPr/>
        </p:nvSpPr>
        <p:spPr>
          <a:xfrm>
            <a:off x="7921949" y="6344686"/>
            <a:ext cx="489069" cy="2154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800" b="1" i="0" u="none" strike="noStrike" cap="none" spc="0" normalizeH="0" baseline="0" dirty="0" smtClean="0">
                <a:ln>
                  <a:noFill/>
                </a:ln>
                <a:solidFill>
                  <a:srgbClr val="1B48B6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AS</a:t>
            </a:r>
            <a:endParaRPr kumimoji="0" lang="en-US" sz="800" b="1" i="0" u="none" strike="noStrike" cap="none" spc="0" normalizeH="0" baseline="0" dirty="0">
              <a:ln>
                <a:noFill/>
              </a:ln>
              <a:solidFill>
                <a:srgbClr val="1B48B6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46" name="TextBox 145"/>
          <p:cNvSpPr txBox="1"/>
          <p:nvPr/>
        </p:nvSpPr>
        <p:spPr>
          <a:xfrm>
            <a:off x="6721297" y="6180844"/>
            <a:ext cx="489069" cy="2154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800" b="1" i="0" u="none" strike="noStrike" cap="none" spc="0" normalizeH="0" baseline="0" dirty="0" smtClean="0">
                <a:ln>
                  <a:noFill/>
                </a:ln>
                <a:solidFill>
                  <a:srgbClr val="1B48B6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LTE</a:t>
            </a:r>
            <a:endParaRPr kumimoji="0" lang="en-US" sz="800" b="1" i="0" u="none" strike="noStrike" cap="none" spc="0" normalizeH="0" baseline="0" dirty="0">
              <a:ln>
                <a:noFill/>
              </a:ln>
              <a:solidFill>
                <a:srgbClr val="1B48B6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cxnSp>
        <p:nvCxnSpPr>
          <p:cNvPr id="16" name="Straight Connector 15"/>
          <p:cNvCxnSpPr>
            <a:stCxn id="68" idx="2"/>
            <a:endCxn id="65" idx="0"/>
          </p:cNvCxnSpPr>
          <p:nvPr/>
        </p:nvCxnSpPr>
        <p:spPr>
          <a:xfrm flipH="1">
            <a:off x="5543888" y="1559815"/>
            <a:ext cx="88287" cy="828774"/>
          </a:xfrm>
          <a:prstGeom prst="line">
            <a:avLst/>
          </a:prstGeom>
          <a:noFill/>
          <a:ln w="9525" cap="flat">
            <a:solidFill>
              <a:schemeClr val="bg1"/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47" name="Straight Connector 146"/>
          <p:cNvCxnSpPr>
            <a:stCxn id="94" idx="3"/>
            <a:endCxn id="65" idx="0"/>
          </p:cNvCxnSpPr>
          <p:nvPr/>
        </p:nvCxnSpPr>
        <p:spPr>
          <a:xfrm>
            <a:off x="4969246" y="2064343"/>
            <a:ext cx="574642" cy="324246"/>
          </a:xfrm>
          <a:prstGeom prst="line">
            <a:avLst/>
          </a:prstGeom>
          <a:noFill/>
          <a:ln w="9525" cap="flat">
            <a:solidFill>
              <a:schemeClr val="bg1"/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48" name="Straight Connector 147"/>
          <p:cNvCxnSpPr>
            <a:stCxn id="132" idx="0"/>
          </p:cNvCxnSpPr>
          <p:nvPr/>
        </p:nvCxnSpPr>
        <p:spPr>
          <a:xfrm flipH="1">
            <a:off x="5717501" y="1387655"/>
            <a:ext cx="531484" cy="961037"/>
          </a:xfrm>
          <a:prstGeom prst="line">
            <a:avLst/>
          </a:prstGeom>
          <a:noFill/>
          <a:ln w="9525" cap="flat">
            <a:solidFill>
              <a:schemeClr val="bg1"/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49" name="Straight Connector 148"/>
          <p:cNvCxnSpPr>
            <a:stCxn id="134" idx="2"/>
            <a:endCxn id="60" idx="0"/>
          </p:cNvCxnSpPr>
          <p:nvPr/>
        </p:nvCxnSpPr>
        <p:spPr>
          <a:xfrm flipH="1">
            <a:off x="6925067" y="1602941"/>
            <a:ext cx="105178" cy="157723"/>
          </a:xfrm>
          <a:prstGeom prst="line">
            <a:avLst/>
          </a:prstGeom>
          <a:noFill/>
          <a:ln w="9525" cap="flat">
            <a:solidFill>
              <a:schemeClr val="bg1"/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50" name="Straight Connector 149"/>
          <p:cNvCxnSpPr>
            <a:stCxn id="135" idx="1"/>
            <a:endCxn id="60" idx="0"/>
          </p:cNvCxnSpPr>
          <p:nvPr/>
        </p:nvCxnSpPr>
        <p:spPr>
          <a:xfrm flipH="1">
            <a:off x="6925067" y="1507011"/>
            <a:ext cx="522366" cy="253653"/>
          </a:xfrm>
          <a:prstGeom prst="line">
            <a:avLst/>
          </a:prstGeom>
          <a:noFill/>
          <a:ln w="9525" cap="flat">
            <a:solidFill>
              <a:schemeClr val="bg1"/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51" name="Straight Connector 150"/>
          <p:cNvCxnSpPr>
            <a:stCxn id="76" idx="2"/>
            <a:endCxn id="118" idx="0"/>
          </p:cNvCxnSpPr>
          <p:nvPr/>
        </p:nvCxnSpPr>
        <p:spPr>
          <a:xfrm>
            <a:off x="8305795" y="1786192"/>
            <a:ext cx="7445" cy="649493"/>
          </a:xfrm>
          <a:prstGeom prst="line">
            <a:avLst/>
          </a:prstGeom>
          <a:noFill/>
          <a:ln w="9525" cap="flat">
            <a:solidFill>
              <a:schemeClr val="bg1"/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53" name="Straight Connector 152"/>
          <p:cNvCxnSpPr>
            <a:stCxn id="77" idx="2"/>
            <a:endCxn id="118" idx="0"/>
          </p:cNvCxnSpPr>
          <p:nvPr/>
        </p:nvCxnSpPr>
        <p:spPr>
          <a:xfrm flipH="1">
            <a:off x="8313240" y="2295356"/>
            <a:ext cx="709928" cy="140329"/>
          </a:xfrm>
          <a:prstGeom prst="line">
            <a:avLst/>
          </a:prstGeom>
          <a:noFill/>
          <a:ln w="9525" cap="flat">
            <a:solidFill>
              <a:schemeClr val="bg1"/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57" name="Straight Connector 156"/>
          <p:cNvCxnSpPr>
            <a:stCxn id="97" idx="1"/>
          </p:cNvCxnSpPr>
          <p:nvPr/>
        </p:nvCxnSpPr>
        <p:spPr>
          <a:xfrm flipH="1" flipV="1">
            <a:off x="8727967" y="2760936"/>
            <a:ext cx="510590" cy="645832"/>
          </a:xfrm>
          <a:prstGeom prst="line">
            <a:avLst/>
          </a:prstGeom>
          <a:noFill/>
          <a:ln w="9525" cap="flat">
            <a:solidFill>
              <a:schemeClr val="bg1"/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63" name="Straight Connector 162"/>
          <p:cNvCxnSpPr>
            <a:stCxn id="138" idx="1"/>
          </p:cNvCxnSpPr>
          <p:nvPr/>
        </p:nvCxnSpPr>
        <p:spPr>
          <a:xfrm flipH="1" flipV="1">
            <a:off x="8727967" y="2760936"/>
            <a:ext cx="438524" cy="263406"/>
          </a:xfrm>
          <a:prstGeom prst="line">
            <a:avLst/>
          </a:prstGeom>
          <a:noFill/>
          <a:ln w="9525" cap="flat">
            <a:solidFill>
              <a:schemeClr val="bg1"/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69" name="Straight Connector 168"/>
          <p:cNvCxnSpPr>
            <a:stCxn id="62" idx="1"/>
            <a:endCxn id="63" idx="3"/>
          </p:cNvCxnSpPr>
          <p:nvPr/>
        </p:nvCxnSpPr>
        <p:spPr>
          <a:xfrm flipH="1" flipV="1">
            <a:off x="9095657" y="3824690"/>
            <a:ext cx="125085" cy="276582"/>
          </a:xfrm>
          <a:prstGeom prst="line">
            <a:avLst/>
          </a:prstGeom>
          <a:noFill/>
          <a:ln w="9525" cap="flat">
            <a:solidFill>
              <a:schemeClr val="bg1"/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72" name="Straight Connector 171"/>
          <p:cNvCxnSpPr>
            <a:endCxn id="117" idx="3"/>
          </p:cNvCxnSpPr>
          <p:nvPr/>
        </p:nvCxnSpPr>
        <p:spPr>
          <a:xfrm flipH="1" flipV="1">
            <a:off x="9095657" y="3794130"/>
            <a:ext cx="125085" cy="717738"/>
          </a:xfrm>
          <a:prstGeom prst="line">
            <a:avLst/>
          </a:prstGeom>
          <a:noFill/>
          <a:ln w="9525" cap="flat">
            <a:solidFill>
              <a:schemeClr val="bg1"/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76" name="Straight Connector 175"/>
          <p:cNvCxnSpPr/>
          <p:nvPr/>
        </p:nvCxnSpPr>
        <p:spPr>
          <a:xfrm flipV="1">
            <a:off x="9023168" y="4107491"/>
            <a:ext cx="0" cy="1026205"/>
          </a:xfrm>
          <a:prstGeom prst="line">
            <a:avLst/>
          </a:prstGeom>
          <a:noFill/>
          <a:ln w="9525" cap="flat">
            <a:solidFill>
              <a:schemeClr val="bg1"/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79" name="Straight Connector 178"/>
          <p:cNvCxnSpPr>
            <a:stCxn id="99" idx="1"/>
            <a:endCxn id="120" idx="2"/>
          </p:cNvCxnSpPr>
          <p:nvPr/>
        </p:nvCxnSpPr>
        <p:spPr>
          <a:xfrm flipH="1" flipV="1">
            <a:off x="8263053" y="5384805"/>
            <a:ext cx="559630" cy="264960"/>
          </a:xfrm>
          <a:prstGeom prst="line">
            <a:avLst/>
          </a:prstGeom>
          <a:noFill/>
          <a:ln w="9525" cap="flat">
            <a:solidFill>
              <a:schemeClr val="bg1"/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82" name="Straight Connector 181"/>
          <p:cNvCxnSpPr>
            <a:endCxn id="120" idx="2"/>
          </p:cNvCxnSpPr>
          <p:nvPr/>
        </p:nvCxnSpPr>
        <p:spPr>
          <a:xfrm flipH="1" flipV="1">
            <a:off x="8263053" y="5384805"/>
            <a:ext cx="268908" cy="418583"/>
          </a:xfrm>
          <a:prstGeom prst="line">
            <a:avLst/>
          </a:prstGeom>
          <a:noFill/>
          <a:ln w="9525" cap="flat">
            <a:solidFill>
              <a:schemeClr val="bg1"/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85" name="Straight Connector 184"/>
          <p:cNvCxnSpPr>
            <a:stCxn id="110" idx="0"/>
            <a:endCxn id="3074" idx="2"/>
          </p:cNvCxnSpPr>
          <p:nvPr/>
        </p:nvCxnSpPr>
        <p:spPr>
          <a:xfrm flipH="1" flipV="1">
            <a:off x="6913969" y="5881346"/>
            <a:ext cx="1229436" cy="204627"/>
          </a:xfrm>
          <a:prstGeom prst="line">
            <a:avLst/>
          </a:prstGeom>
          <a:noFill/>
          <a:ln w="9525" cap="flat">
            <a:solidFill>
              <a:schemeClr val="bg1"/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88" name="Straight Connector 187"/>
          <p:cNvCxnSpPr>
            <a:stCxn id="98" idx="0"/>
            <a:endCxn id="3074" idx="2"/>
          </p:cNvCxnSpPr>
          <p:nvPr/>
        </p:nvCxnSpPr>
        <p:spPr>
          <a:xfrm flipH="1" flipV="1">
            <a:off x="6913969" y="5881346"/>
            <a:ext cx="745483" cy="303227"/>
          </a:xfrm>
          <a:prstGeom prst="line">
            <a:avLst/>
          </a:prstGeom>
          <a:noFill/>
          <a:ln w="9525" cap="flat">
            <a:solidFill>
              <a:schemeClr val="bg1"/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91" name="Straight Connector 190"/>
          <p:cNvCxnSpPr>
            <a:stCxn id="146" idx="0"/>
            <a:endCxn id="3074" idx="2"/>
          </p:cNvCxnSpPr>
          <p:nvPr/>
        </p:nvCxnSpPr>
        <p:spPr>
          <a:xfrm flipH="1" flipV="1">
            <a:off x="6913969" y="5881346"/>
            <a:ext cx="51863" cy="299498"/>
          </a:xfrm>
          <a:prstGeom prst="line">
            <a:avLst/>
          </a:prstGeom>
          <a:noFill/>
          <a:ln w="9525" cap="flat">
            <a:solidFill>
              <a:schemeClr val="bg1"/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94" name="Straight Connector 193"/>
          <p:cNvCxnSpPr>
            <a:stCxn id="66" idx="2"/>
          </p:cNvCxnSpPr>
          <p:nvPr/>
        </p:nvCxnSpPr>
        <p:spPr>
          <a:xfrm>
            <a:off x="5617728" y="5336615"/>
            <a:ext cx="702446" cy="944562"/>
          </a:xfrm>
          <a:prstGeom prst="line">
            <a:avLst/>
          </a:prstGeom>
          <a:noFill/>
          <a:ln w="9525" cap="flat">
            <a:solidFill>
              <a:schemeClr val="bg1"/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98" name="Straight Connector 197"/>
          <p:cNvCxnSpPr>
            <a:stCxn id="66" idx="2"/>
            <a:endCxn id="107" idx="0"/>
          </p:cNvCxnSpPr>
          <p:nvPr/>
        </p:nvCxnSpPr>
        <p:spPr>
          <a:xfrm>
            <a:off x="5617728" y="5336615"/>
            <a:ext cx="215448" cy="736156"/>
          </a:xfrm>
          <a:prstGeom prst="line">
            <a:avLst/>
          </a:prstGeom>
          <a:noFill/>
          <a:ln w="9525" cap="flat">
            <a:solidFill>
              <a:schemeClr val="bg1"/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01" name="Straight Connector 200"/>
          <p:cNvCxnSpPr>
            <a:stCxn id="66" idx="2"/>
            <a:endCxn id="103" idx="0"/>
          </p:cNvCxnSpPr>
          <p:nvPr/>
        </p:nvCxnSpPr>
        <p:spPr>
          <a:xfrm flipH="1">
            <a:off x="5426997" y="5336615"/>
            <a:ext cx="190731" cy="471007"/>
          </a:xfrm>
          <a:prstGeom prst="line">
            <a:avLst/>
          </a:prstGeom>
          <a:noFill/>
          <a:ln w="9525" cap="flat">
            <a:solidFill>
              <a:schemeClr val="bg1"/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04" name="Straight Connector 203"/>
          <p:cNvCxnSpPr>
            <a:stCxn id="66" idx="1"/>
            <a:endCxn id="104" idx="0"/>
          </p:cNvCxnSpPr>
          <p:nvPr/>
        </p:nvCxnSpPr>
        <p:spPr>
          <a:xfrm flipH="1">
            <a:off x="4722114" y="5058998"/>
            <a:ext cx="479562" cy="162407"/>
          </a:xfrm>
          <a:prstGeom prst="line">
            <a:avLst/>
          </a:prstGeom>
          <a:noFill/>
          <a:ln w="9525" cap="flat">
            <a:solidFill>
              <a:schemeClr val="bg1"/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07" name="Straight Connector 206"/>
          <p:cNvCxnSpPr>
            <a:stCxn id="66" idx="1"/>
            <a:endCxn id="105" idx="3"/>
          </p:cNvCxnSpPr>
          <p:nvPr/>
        </p:nvCxnSpPr>
        <p:spPr>
          <a:xfrm flipH="1" flipV="1">
            <a:off x="4548015" y="4957376"/>
            <a:ext cx="653661" cy="101622"/>
          </a:xfrm>
          <a:prstGeom prst="line">
            <a:avLst/>
          </a:prstGeom>
          <a:noFill/>
          <a:ln w="9525" cap="flat">
            <a:solidFill>
              <a:schemeClr val="bg1"/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10" name="Straight Connector 209"/>
          <p:cNvCxnSpPr>
            <a:stCxn id="59" idx="1"/>
            <a:endCxn id="71" idx="3"/>
          </p:cNvCxnSpPr>
          <p:nvPr/>
        </p:nvCxnSpPr>
        <p:spPr>
          <a:xfrm flipH="1">
            <a:off x="4597216" y="3831591"/>
            <a:ext cx="188408" cy="361009"/>
          </a:xfrm>
          <a:prstGeom prst="line">
            <a:avLst/>
          </a:prstGeom>
          <a:noFill/>
          <a:ln w="9525" cap="flat">
            <a:solidFill>
              <a:schemeClr val="bg1"/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13" name="Straight Connector 212"/>
          <p:cNvCxnSpPr>
            <a:stCxn id="59" idx="1"/>
            <a:endCxn id="70" idx="3"/>
          </p:cNvCxnSpPr>
          <p:nvPr/>
        </p:nvCxnSpPr>
        <p:spPr>
          <a:xfrm flipH="1" flipV="1">
            <a:off x="4597216" y="3436788"/>
            <a:ext cx="188408" cy="394803"/>
          </a:xfrm>
          <a:prstGeom prst="line">
            <a:avLst/>
          </a:prstGeom>
          <a:noFill/>
          <a:ln w="9525" cap="flat">
            <a:solidFill>
              <a:schemeClr val="bg1"/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16" name="Straight Connector 215"/>
          <p:cNvCxnSpPr>
            <a:stCxn id="59" idx="1"/>
            <a:endCxn id="69" idx="2"/>
          </p:cNvCxnSpPr>
          <p:nvPr/>
        </p:nvCxnSpPr>
        <p:spPr>
          <a:xfrm flipH="1" flipV="1">
            <a:off x="4414685" y="3000001"/>
            <a:ext cx="370939" cy="831590"/>
          </a:xfrm>
          <a:prstGeom prst="line">
            <a:avLst/>
          </a:prstGeom>
          <a:noFill/>
          <a:ln w="9525" cap="flat">
            <a:solidFill>
              <a:schemeClr val="bg1"/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26" name="TextBox 225"/>
          <p:cNvSpPr txBox="1"/>
          <p:nvPr/>
        </p:nvSpPr>
        <p:spPr>
          <a:xfrm>
            <a:off x="8129318" y="2801042"/>
            <a:ext cx="700303" cy="18466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6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VMS, VA</a:t>
            </a:r>
            <a:endParaRPr kumimoji="0" lang="en-US" sz="6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29" name="Rounded Rectangle 228"/>
          <p:cNvSpPr/>
          <p:nvPr/>
        </p:nvSpPr>
        <p:spPr>
          <a:xfrm>
            <a:off x="161479" y="2280627"/>
            <a:ext cx="2999817" cy="945363"/>
          </a:xfrm>
          <a:prstGeom prst="roundRect">
            <a:avLst/>
          </a:prstGeom>
          <a:noFill/>
          <a:ln w="12700" cap="flat">
            <a:solidFill>
              <a:srgbClr val="00B050">
                <a:alpha val="79000"/>
              </a:srgbClr>
            </a:solidFill>
            <a:prstDash val="sysDot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30" name="Rounded Rectangle 229"/>
          <p:cNvSpPr/>
          <p:nvPr/>
        </p:nvSpPr>
        <p:spPr>
          <a:xfrm>
            <a:off x="7941364" y="1207135"/>
            <a:ext cx="1526015" cy="1206671"/>
          </a:xfrm>
          <a:prstGeom prst="roundRect">
            <a:avLst/>
          </a:prstGeom>
          <a:solidFill>
            <a:schemeClr val="bg1">
              <a:alpha val="12000"/>
            </a:schemeClr>
          </a:solidFill>
          <a:ln w="25400">
            <a:solidFill>
              <a:srgbClr val="00B05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31" name="Rounded Rectangle 230"/>
          <p:cNvSpPr/>
          <p:nvPr/>
        </p:nvSpPr>
        <p:spPr>
          <a:xfrm>
            <a:off x="8994184" y="2480516"/>
            <a:ext cx="1028742" cy="1313613"/>
          </a:xfrm>
          <a:prstGeom prst="roundRect">
            <a:avLst/>
          </a:prstGeom>
          <a:solidFill>
            <a:schemeClr val="bg1">
              <a:alpha val="11000"/>
            </a:schemeClr>
          </a:solidFill>
          <a:ln w="25400">
            <a:solidFill>
              <a:srgbClr val="7030A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32" name="Rounded Rectangle 231"/>
          <p:cNvSpPr/>
          <p:nvPr/>
        </p:nvSpPr>
        <p:spPr>
          <a:xfrm>
            <a:off x="161479" y="3400426"/>
            <a:ext cx="2999027" cy="974442"/>
          </a:xfrm>
          <a:prstGeom prst="roundRect">
            <a:avLst/>
          </a:prstGeom>
          <a:noFill/>
          <a:ln w="12700" cap="flat">
            <a:solidFill>
              <a:srgbClr val="00B0F0"/>
            </a:solidFill>
            <a:prstDash val="sysDot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33" name="Rounded Rectangle 232"/>
          <p:cNvSpPr/>
          <p:nvPr/>
        </p:nvSpPr>
        <p:spPr>
          <a:xfrm>
            <a:off x="4498984" y="1387655"/>
            <a:ext cx="806442" cy="965929"/>
          </a:xfrm>
          <a:prstGeom prst="roundRect">
            <a:avLst/>
          </a:prstGeom>
          <a:solidFill>
            <a:schemeClr val="bg1">
              <a:alpha val="10000"/>
            </a:schemeClr>
          </a:solidFill>
          <a:ln w="25400">
            <a:solidFill>
              <a:srgbClr val="00B0F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80" name="Picture 4" descr="Image result for laser fence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3873" y="1470831"/>
            <a:ext cx="429077" cy="32347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sp>
        <p:nvSpPr>
          <p:cNvPr id="240" name="TextBox 239"/>
          <p:cNvSpPr txBox="1"/>
          <p:nvPr/>
        </p:nvSpPr>
        <p:spPr>
          <a:xfrm>
            <a:off x="4747673" y="1746822"/>
            <a:ext cx="606540" cy="20005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700" b="1" dirty="0" smtClean="0">
                <a:solidFill>
                  <a:srgbClr val="1B48B6"/>
                </a:solidFill>
              </a:rPr>
              <a:t>Laser Fence</a:t>
            </a:r>
            <a:endParaRPr kumimoji="0" lang="en-US" sz="700" b="1" i="0" u="none" strike="noStrike" cap="none" spc="0" normalizeH="0" baseline="0" dirty="0">
              <a:ln>
                <a:noFill/>
              </a:ln>
              <a:solidFill>
                <a:srgbClr val="1B48B6"/>
              </a:solidFill>
              <a:effectLst/>
              <a:uFillTx/>
              <a:sym typeface="Calibri"/>
            </a:endParaRPr>
          </a:p>
        </p:txBody>
      </p:sp>
      <p:cxnSp>
        <p:nvCxnSpPr>
          <p:cNvPr id="242" name="Straight Connector 241"/>
          <p:cNvCxnSpPr>
            <a:stCxn id="180" idx="3"/>
            <a:endCxn id="65" idx="0"/>
          </p:cNvCxnSpPr>
          <p:nvPr/>
        </p:nvCxnSpPr>
        <p:spPr>
          <a:xfrm>
            <a:off x="5252950" y="1632567"/>
            <a:ext cx="290938" cy="756022"/>
          </a:xfrm>
          <a:prstGeom prst="line">
            <a:avLst/>
          </a:prstGeom>
          <a:noFill/>
          <a:ln w="9525" cap="flat">
            <a:solidFill>
              <a:schemeClr val="bg1"/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45" name="Rounded Rectangle 244"/>
          <p:cNvSpPr/>
          <p:nvPr/>
        </p:nvSpPr>
        <p:spPr>
          <a:xfrm>
            <a:off x="3703576" y="3844080"/>
            <a:ext cx="960056" cy="776514"/>
          </a:xfrm>
          <a:prstGeom prst="roundRect">
            <a:avLst/>
          </a:prstGeom>
          <a:solidFill>
            <a:schemeClr val="bg1">
              <a:alpha val="12000"/>
            </a:schemeClr>
          </a:solidFill>
          <a:ln w="25400">
            <a:solidFill>
              <a:srgbClr val="00B05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46" name="Rounded Rectangle 245"/>
          <p:cNvSpPr/>
          <p:nvPr/>
        </p:nvSpPr>
        <p:spPr>
          <a:xfrm>
            <a:off x="3730809" y="2374437"/>
            <a:ext cx="1131164" cy="1457154"/>
          </a:xfrm>
          <a:prstGeom prst="roundRect">
            <a:avLst/>
          </a:prstGeom>
          <a:solidFill>
            <a:schemeClr val="bg1">
              <a:alpha val="10000"/>
            </a:schemeClr>
          </a:solidFill>
          <a:ln w="25400">
            <a:solidFill>
              <a:srgbClr val="00B0F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47" name="Rounded Rectangle 246"/>
          <p:cNvSpPr/>
          <p:nvPr/>
        </p:nvSpPr>
        <p:spPr>
          <a:xfrm>
            <a:off x="161480" y="4551411"/>
            <a:ext cx="2999026" cy="944380"/>
          </a:xfrm>
          <a:prstGeom prst="roundRect">
            <a:avLst/>
          </a:prstGeom>
          <a:noFill/>
          <a:ln w="12700" cap="flat">
            <a:solidFill>
              <a:srgbClr val="F9701B"/>
            </a:solidFill>
            <a:prstDash val="sysDot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48" name="Rounded Rectangle 247"/>
          <p:cNvSpPr/>
          <p:nvPr/>
        </p:nvSpPr>
        <p:spPr>
          <a:xfrm>
            <a:off x="200615" y="5701987"/>
            <a:ext cx="2959728" cy="831707"/>
          </a:xfrm>
          <a:prstGeom prst="roundRect">
            <a:avLst/>
          </a:prstGeom>
          <a:noFill/>
          <a:ln w="12700" cap="flat">
            <a:solidFill>
              <a:srgbClr val="7030A0"/>
            </a:solidFill>
            <a:prstDash val="sysDot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49" name="Rounded Rectangle 248"/>
          <p:cNvSpPr/>
          <p:nvPr/>
        </p:nvSpPr>
        <p:spPr>
          <a:xfrm>
            <a:off x="8329968" y="5538557"/>
            <a:ext cx="973321" cy="844229"/>
          </a:xfrm>
          <a:prstGeom prst="roundRect">
            <a:avLst/>
          </a:prstGeom>
          <a:solidFill>
            <a:schemeClr val="bg1">
              <a:alpha val="11000"/>
            </a:schemeClr>
          </a:solidFill>
          <a:ln w="25400">
            <a:solidFill>
              <a:srgbClr val="7030A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50" name="Rounded Rectangle 249"/>
          <p:cNvSpPr/>
          <p:nvPr/>
        </p:nvSpPr>
        <p:spPr>
          <a:xfrm>
            <a:off x="5355395" y="965543"/>
            <a:ext cx="1256907" cy="752070"/>
          </a:xfrm>
          <a:prstGeom prst="roundRect">
            <a:avLst/>
          </a:prstGeom>
          <a:solidFill>
            <a:schemeClr val="bg1">
              <a:alpha val="10000"/>
            </a:schemeClr>
          </a:solidFill>
          <a:ln w="25400">
            <a:solidFill>
              <a:srgbClr val="00B0F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51" name="Rounded Rectangle 250"/>
          <p:cNvSpPr/>
          <p:nvPr/>
        </p:nvSpPr>
        <p:spPr>
          <a:xfrm>
            <a:off x="6103067" y="6180843"/>
            <a:ext cx="682560" cy="479855"/>
          </a:xfrm>
          <a:prstGeom prst="roundRect">
            <a:avLst/>
          </a:prstGeom>
          <a:solidFill>
            <a:schemeClr val="bg1">
              <a:alpha val="12000"/>
            </a:schemeClr>
          </a:solidFill>
          <a:ln w="25400">
            <a:solidFill>
              <a:srgbClr val="00B05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54" name="Rounded Rectangle 253"/>
          <p:cNvSpPr/>
          <p:nvPr/>
        </p:nvSpPr>
        <p:spPr>
          <a:xfrm>
            <a:off x="6690249" y="926802"/>
            <a:ext cx="1208300" cy="755000"/>
          </a:xfrm>
          <a:prstGeom prst="roundRect">
            <a:avLst/>
          </a:prstGeom>
          <a:solidFill>
            <a:schemeClr val="bg1">
              <a:alpha val="12000"/>
            </a:schemeClr>
          </a:solidFill>
          <a:ln w="25400">
            <a:solidFill>
              <a:srgbClr val="00B05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34" name="Oval 233"/>
          <p:cNvSpPr/>
          <p:nvPr/>
        </p:nvSpPr>
        <p:spPr>
          <a:xfrm>
            <a:off x="4607035" y="1602941"/>
            <a:ext cx="4636064" cy="4536366"/>
          </a:xfrm>
          <a:prstGeom prst="ellipse">
            <a:avLst/>
          </a:prstGeom>
          <a:solidFill>
            <a:schemeClr val="accent2">
              <a:lumMod val="20000"/>
              <a:lumOff val="80000"/>
              <a:alpha val="9000"/>
            </a:schemeClr>
          </a:solidFill>
          <a:ln w="25400">
            <a:solidFill>
              <a:srgbClr val="F9701B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256" name="Rounded Rectangle 255"/>
          <p:cNvSpPr/>
          <p:nvPr/>
        </p:nvSpPr>
        <p:spPr>
          <a:xfrm>
            <a:off x="7873352" y="2388589"/>
            <a:ext cx="854615" cy="695263"/>
          </a:xfrm>
          <a:prstGeom prst="roundRect">
            <a:avLst/>
          </a:prstGeom>
          <a:solidFill>
            <a:srgbClr val="F9701B">
              <a:alpha val="9000"/>
            </a:srgbClr>
          </a:solidFill>
          <a:ln w="25400">
            <a:solidFill>
              <a:srgbClr val="F9701B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59" name="Rounded Rectangle 258"/>
          <p:cNvSpPr/>
          <p:nvPr/>
        </p:nvSpPr>
        <p:spPr>
          <a:xfrm>
            <a:off x="8829621" y="3866015"/>
            <a:ext cx="1294778" cy="1651270"/>
          </a:xfrm>
          <a:prstGeom prst="roundRect">
            <a:avLst/>
          </a:prstGeom>
          <a:solidFill>
            <a:schemeClr val="bg1">
              <a:alpha val="11000"/>
            </a:schemeClr>
          </a:solidFill>
          <a:ln w="25400">
            <a:solidFill>
              <a:srgbClr val="7030A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60" name="Rounded Rectangle 259"/>
          <p:cNvSpPr/>
          <p:nvPr/>
        </p:nvSpPr>
        <p:spPr>
          <a:xfrm>
            <a:off x="6841016" y="6124072"/>
            <a:ext cx="1096325" cy="620141"/>
          </a:xfrm>
          <a:prstGeom prst="roundRect">
            <a:avLst/>
          </a:prstGeom>
          <a:solidFill>
            <a:schemeClr val="bg1">
              <a:alpha val="11000"/>
            </a:schemeClr>
          </a:solidFill>
          <a:ln w="25400">
            <a:solidFill>
              <a:srgbClr val="7030A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61" name="Rounded Rectangle 260"/>
          <p:cNvSpPr/>
          <p:nvPr/>
        </p:nvSpPr>
        <p:spPr>
          <a:xfrm>
            <a:off x="7924549" y="6034670"/>
            <a:ext cx="444013" cy="536735"/>
          </a:xfrm>
          <a:prstGeom prst="roundRect">
            <a:avLst/>
          </a:prstGeom>
          <a:solidFill>
            <a:srgbClr val="F9701B">
              <a:alpha val="9000"/>
            </a:srgbClr>
          </a:solidFill>
          <a:ln w="25400">
            <a:solidFill>
              <a:srgbClr val="F9701B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62" name="Rounded Rectangle 261"/>
          <p:cNvSpPr/>
          <p:nvPr/>
        </p:nvSpPr>
        <p:spPr>
          <a:xfrm>
            <a:off x="4747673" y="3506068"/>
            <a:ext cx="885411" cy="695263"/>
          </a:xfrm>
          <a:prstGeom prst="roundRect">
            <a:avLst/>
          </a:prstGeom>
          <a:solidFill>
            <a:srgbClr val="F9701B">
              <a:alpha val="9000"/>
            </a:srgbClr>
          </a:solidFill>
          <a:ln w="25400">
            <a:solidFill>
              <a:srgbClr val="F9701B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63" name="Oval 262"/>
          <p:cNvSpPr/>
          <p:nvPr/>
        </p:nvSpPr>
        <p:spPr>
          <a:xfrm>
            <a:off x="5620385" y="2463790"/>
            <a:ext cx="2630468" cy="2740358"/>
          </a:xfrm>
          <a:prstGeom prst="ellipse">
            <a:avLst/>
          </a:prstGeom>
          <a:noFill/>
          <a:ln w="50800">
            <a:solidFill>
              <a:srgbClr val="1B48C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cxnSp>
        <p:nvCxnSpPr>
          <p:cNvPr id="152" name="Straight Connector 151"/>
          <p:cNvCxnSpPr>
            <a:stCxn id="262" idx="1"/>
            <a:endCxn id="129" idx="0"/>
          </p:cNvCxnSpPr>
          <p:nvPr/>
        </p:nvCxnSpPr>
        <p:spPr>
          <a:xfrm flipH="1" flipV="1">
            <a:off x="4196695" y="3672668"/>
            <a:ext cx="550978" cy="181032"/>
          </a:xfrm>
          <a:prstGeom prst="line">
            <a:avLst/>
          </a:prstGeom>
          <a:noFill/>
          <a:ln w="9525" cap="flat">
            <a:solidFill>
              <a:schemeClr val="bg1"/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54" name="TextBox 153"/>
          <p:cNvSpPr txBox="1"/>
          <p:nvPr/>
        </p:nvSpPr>
        <p:spPr>
          <a:xfrm>
            <a:off x="4832834" y="5931241"/>
            <a:ext cx="446754" cy="3385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800" b="1" i="0" u="none" strike="noStrike" cap="none" spc="0" normalizeH="0" baseline="0" dirty="0" smtClean="0">
                <a:ln>
                  <a:noFill/>
                </a:ln>
                <a:solidFill>
                  <a:srgbClr val="1B48B6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MW Sensor</a:t>
            </a:r>
            <a:endParaRPr kumimoji="0" lang="en-US" sz="800" b="1" i="0" u="none" strike="noStrike" cap="none" spc="0" normalizeH="0" baseline="0" dirty="0">
              <a:ln>
                <a:noFill/>
              </a:ln>
              <a:solidFill>
                <a:srgbClr val="1B48B6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28" name="Rounded Rectangle 227"/>
          <p:cNvSpPr/>
          <p:nvPr/>
        </p:nvSpPr>
        <p:spPr>
          <a:xfrm>
            <a:off x="4071357" y="4656390"/>
            <a:ext cx="960056" cy="1104584"/>
          </a:xfrm>
          <a:prstGeom prst="roundRect">
            <a:avLst/>
          </a:prstGeom>
          <a:solidFill>
            <a:schemeClr val="bg1">
              <a:alpha val="12000"/>
            </a:schemeClr>
          </a:solidFill>
          <a:ln w="25400">
            <a:solidFill>
              <a:srgbClr val="00B05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04" name="Picture 20" descr="Related image"/>
          <p:cNvPicPr>
            <a:picLocks noChangeAspect="1" noChangeArrowheads="1"/>
          </p:cNvPicPr>
          <p:nvPr/>
        </p:nvPicPr>
        <p:blipFill rotWithShape="1"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14" t="25943" r="52159" b="19326"/>
          <a:stretch/>
        </p:blipFill>
        <p:spPr bwMode="auto">
          <a:xfrm>
            <a:off x="4554549" y="5221405"/>
            <a:ext cx="335129" cy="40732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105" name="Picture 22" descr="Related image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0120" y="4701106"/>
            <a:ext cx="407895" cy="51253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sp>
        <p:nvSpPr>
          <p:cNvPr id="227" name="Rounded Rectangle 226"/>
          <p:cNvSpPr/>
          <p:nvPr/>
        </p:nvSpPr>
        <p:spPr>
          <a:xfrm>
            <a:off x="4832834" y="5572118"/>
            <a:ext cx="1222181" cy="895653"/>
          </a:xfrm>
          <a:prstGeom prst="roundRect">
            <a:avLst/>
          </a:prstGeom>
          <a:solidFill>
            <a:schemeClr val="bg1">
              <a:alpha val="12000"/>
            </a:schemeClr>
          </a:solidFill>
          <a:ln w="25400">
            <a:solidFill>
              <a:srgbClr val="00B05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03" name="Picture 18" descr="Image result for unattended ground sensor"/>
          <p:cNvPicPr>
            <a:picLocks noChangeAspect="1" noChangeArrowheads="1"/>
          </p:cNvPicPr>
          <p:nvPr/>
        </p:nvPicPr>
        <p:blipFill rotWithShape="1"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96" r="25235" b="14001"/>
          <a:stretch/>
        </p:blipFill>
        <p:spPr bwMode="auto">
          <a:xfrm>
            <a:off x="5260018" y="5807622"/>
            <a:ext cx="333957" cy="44903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4098" name="Picture 2" descr="Image result for microwave sensor"/>
          <p:cNvPicPr>
            <a:picLocks noChangeAspect="1" noChangeArrowheads="1"/>
          </p:cNvPicPr>
          <p:nvPr/>
        </p:nvPicPr>
        <p:blipFill rotWithShape="1"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9" r="26541"/>
          <a:stretch/>
        </p:blipFill>
        <p:spPr bwMode="auto">
          <a:xfrm>
            <a:off x="4906080" y="5624201"/>
            <a:ext cx="317427" cy="37706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cxnSp>
        <p:nvCxnSpPr>
          <p:cNvPr id="155" name="Straight Connector 154"/>
          <p:cNvCxnSpPr>
            <a:endCxn id="4098" idx="0"/>
          </p:cNvCxnSpPr>
          <p:nvPr/>
        </p:nvCxnSpPr>
        <p:spPr>
          <a:xfrm flipH="1">
            <a:off x="5064794" y="5336615"/>
            <a:ext cx="555591" cy="287586"/>
          </a:xfrm>
          <a:prstGeom prst="line">
            <a:avLst/>
          </a:prstGeom>
          <a:noFill/>
          <a:ln w="9525" cap="flat">
            <a:solidFill>
              <a:schemeClr val="bg1"/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58" name="TextBox 157"/>
          <p:cNvSpPr txBox="1"/>
          <p:nvPr/>
        </p:nvSpPr>
        <p:spPr>
          <a:xfrm>
            <a:off x="9093403" y="4800984"/>
            <a:ext cx="973102" cy="19235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ctr">
              <a:defRPr sz="700" b="1">
                <a:solidFill>
                  <a:srgbClr val="1B48B6"/>
                </a:solidFill>
              </a:defRPr>
            </a:lvl1pPr>
          </a:lstStyle>
          <a:p>
            <a:r>
              <a:rPr lang="en-US" sz="650" dirty="0" smtClean="0"/>
              <a:t>Metal Detectors</a:t>
            </a:r>
            <a:endParaRPr lang="en-US" sz="650" dirty="0"/>
          </a:p>
        </p:txBody>
      </p:sp>
      <p:grpSp>
        <p:nvGrpSpPr>
          <p:cNvPr id="12" name="Group 11"/>
          <p:cNvGrpSpPr/>
          <p:nvPr/>
        </p:nvGrpSpPr>
        <p:grpSpPr>
          <a:xfrm>
            <a:off x="3473434" y="652611"/>
            <a:ext cx="6872460" cy="6212564"/>
            <a:chOff x="3473434" y="652611"/>
            <a:chExt cx="6872460" cy="6212564"/>
          </a:xfrm>
        </p:grpSpPr>
        <p:sp>
          <p:nvSpPr>
            <p:cNvPr id="156" name="Oval 155"/>
            <p:cNvSpPr/>
            <p:nvPr/>
          </p:nvSpPr>
          <p:spPr>
            <a:xfrm>
              <a:off x="3563261" y="836386"/>
              <a:ext cx="6669312" cy="5907827"/>
            </a:xfrm>
            <a:prstGeom prst="ellipse">
              <a:avLst/>
            </a:prstGeom>
            <a:noFill/>
            <a:ln w="9525">
              <a:gradFill>
                <a:gsLst>
                  <a:gs pos="0">
                    <a:schemeClr val="accent1"/>
                  </a:gs>
                  <a:gs pos="91500">
                    <a:schemeClr val="accent4"/>
                  </a:gs>
                  <a:gs pos="100000">
                    <a:srgbClr val="00B050"/>
                  </a:gs>
                  <a:gs pos="69000">
                    <a:schemeClr val="accent5"/>
                  </a:gs>
                  <a:gs pos="56000">
                    <a:schemeClr val="accent2"/>
                  </a:gs>
                  <a:gs pos="40000">
                    <a:srgbClr val="8606B6"/>
                  </a:gs>
                  <a:gs pos="25000">
                    <a:schemeClr val="accent6">
                      <a:lumMod val="75000"/>
                    </a:schemeClr>
                  </a:gs>
                  <a:gs pos="12000">
                    <a:srgbClr val="FF0000"/>
                  </a:gs>
                  <a:gs pos="83000">
                    <a:srgbClr val="EB3345"/>
                  </a:gs>
                </a:gsLst>
                <a:lin ang="5400000" scaled="0"/>
              </a:gra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9" name="Chevron 8"/>
            <p:cNvSpPr/>
            <p:nvPr/>
          </p:nvSpPr>
          <p:spPr>
            <a:xfrm rot="18855964">
              <a:off x="4145488" y="1859864"/>
              <a:ext cx="248584" cy="211656"/>
            </a:xfrm>
            <a:prstGeom prst="chevron">
              <a:avLst/>
            </a:prstGeom>
            <a:gradFill>
              <a:gsLst>
                <a:gs pos="0">
                  <a:schemeClr val="accent1">
                    <a:lumMod val="98000"/>
                    <a:lumOff val="2000"/>
                  </a:schemeClr>
                </a:gs>
                <a:gs pos="91500">
                  <a:schemeClr val="accent4"/>
                </a:gs>
                <a:gs pos="100000">
                  <a:srgbClr val="00B050"/>
                </a:gs>
                <a:gs pos="69000">
                  <a:schemeClr val="accent5"/>
                </a:gs>
                <a:gs pos="56000">
                  <a:schemeClr val="accent2"/>
                </a:gs>
                <a:gs pos="40000">
                  <a:srgbClr val="8606B6"/>
                </a:gs>
                <a:gs pos="25000">
                  <a:schemeClr val="accent6">
                    <a:lumMod val="75000"/>
                  </a:schemeClr>
                </a:gs>
                <a:gs pos="12000">
                  <a:srgbClr val="FF0000"/>
                </a:gs>
                <a:gs pos="83000">
                  <a:srgbClr val="EB3345"/>
                </a:gs>
              </a:gsLst>
              <a:lin ang="5400000" scaled="0"/>
            </a:gra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159" name="Chevron 158"/>
            <p:cNvSpPr/>
            <p:nvPr/>
          </p:nvSpPr>
          <p:spPr>
            <a:xfrm rot="21353972">
              <a:off x="6482594" y="734735"/>
              <a:ext cx="248584" cy="211656"/>
            </a:xfrm>
            <a:prstGeom prst="chevron">
              <a:avLst/>
            </a:prstGeom>
            <a:gradFill>
              <a:gsLst>
                <a:gs pos="0">
                  <a:schemeClr val="accent1">
                    <a:lumMod val="98000"/>
                    <a:lumOff val="2000"/>
                  </a:schemeClr>
                </a:gs>
                <a:gs pos="91500">
                  <a:schemeClr val="accent4"/>
                </a:gs>
                <a:gs pos="100000">
                  <a:srgbClr val="00B050"/>
                </a:gs>
                <a:gs pos="69000">
                  <a:schemeClr val="accent5"/>
                </a:gs>
                <a:gs pos="56000">
                  <a:schemeClr val="accent2"/>
                </a:gs>
                <a:gs pos="40000">
                  <a:srgbClr val="8606B6"/>
                </a:gs>
                <a:gs pos="25000">
                  <a:schemeClr val="accent6">
                    <a:lumMod val="75000"/>
                  </a:schemeClr>
                </a:gs>
                <a:gs pos="12000">
                  <a:srgbClr val="FF0000"/>
                </a:gs>
                <a:gs pos="83000">
                  <a:srgbClr val="EB3345"/>
                </a:gs>
              </a:gsLst>
              <a:lin ang="5400000" scaled="0"/>
            </a:gra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160" name="Chevron 159"/>
            <p:cNvSpPr/>
            <p:nvPr/>
          </p:nvSpPr>
          <p:spPr>
            <a:xfrm rot="1251970">
              <a:off x="8035012" y="944575"/>
              <a:ext cx="248584" cy="211656"/>
            </a:xfrm>
            <a:prstGeom prst="chevron">
              <a:avLst/>
            </a:prstGeom>
            <a:gradFill>
              <a:gsLst>
                <a:gs pos="0">
                  <a:schemeClr val="accent1">
                    <a:lumMod val="98000"/>
                    <a:lumOff val="2000"/>
                  </a:schemeClr>
                </a:gs>
                <a:gs pos="91500">
                  <a:schemeClr val="accent4"/>
                </a:gs>
                <a:gs pos="100000">
                  <a:srgbClr val="00B050"/>
                </a:gs>
                <a:gs pos="69000">
                  <a:schemeClr val="accent5"/>
                </a:gs>
                <a:gs pos="56000">
                  <a:schemeClr val="accent2"/>
                </a:gs>
                <a:gs pos="40000">
                  <a:srgbClr val="8606B6"/>
                </a:gs>
                <a:gs pos="25000">
                  <a:schemeClr val="accent6">
                    <a:lumMod val="75000"/>
                  </a:schemeClr>
                </a:gs>
                <a:gs pos="12000">
                  <a:srgbClr val="FF0000"/>
                </a:gs>
                <a:gs pos="83000">
                  <a:srgbClr val="EB3345"/>
                </a:gs>
              </a:gsLst>
              <a:lin ang="5400000" scaled="0"/>
            </a:gra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161" name="Chevron 160"/>
            <p:cNvSpPr/>
            <p:nvPr/>
          </p:nvSpPr>
          <p:spPr>
            <a:xfrm rot="4988585">
              <a:off x="10096048" y="3579342"/>
              <a:ext cx="248584" cy="211656"/>
            </a:xfrm>
            <a:prstGeom prst="chevron">
              <a:avLst/>
            </a:prstGeom>
            <a:gradFill>
              <a:gsLst>
                <a:gs pos="0">
                  <a:schemeClr val="accent1">
                    <a:lumMod val="98000"/>
                    <a:lumOff val="2000"/>
                  </a:schemeClr>
                </a:gs>
                <a:gs pos="91500">
                  <a:schemeClr val="accent4"/>
                </a:gs>
                <a:gs pos="100000">
                  <a:srgbClr val="00B050"/>
                </a:gs>
                <a:gs pos="69000">
                  <a:schemeClr val="accent5"/>
                </a:gs>
                <a:gs pos="56000">
                  <a:schemeClr val="accent2"/>
                </a:gs>
                <a:gs pos="40000">
                  <a:srgbClr val="8606B6"/>
                </a:gs>
                <a:gs pos="25000">
                  <a:schemeClr val="accent6">
                    <a:lumMod val="75000"/>
                  </a:schemeClr>
                </a:gs>
                <a:gs pos="12000">
                  <a:srgbClr val="FF0000"/>
                </a:gs>
                <a:gs pos="83000">
                  <a:srgbClr val="EB3345"/>
                </a:gs>
              </a:gsLst>
              <a:lin ang="5400000" scaled="0"/>
            </a:gra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162" name="Chevron 161"/>
            <p:cNvSpPr/>
            <p:nvPr/>
          </p:nvSpPr>
          <p:spPr>
            <a:xfrm rot="7586486">
              <a:off x="9327789" y="5573432"/>
              <a:ext cx="248584" cy="211656"/>
            </a:xfrm>
            <a:prstGeom prst="chevron">
              <a:avLst/>
            </a:prstGeom>
            <a:gradFill>
              <a:gsLst>
                <a:gs pos="0">
                  <a:schemeClr val="accent1">
                    <a:lumMod val="98000"/>
                    <a:lumOff val="2000"/>
                  </a:schemeClr>
                </a:gs>
                <a:gs pos="91500">
                  <a:schemeClr val="accent4"/>
                </a:gs>
                <a:gs pos="100000">
                  <a:srgbClr val="00B050"/>
                </a:gs>
                <a:gs pos="69000">
                  <a:schemeClr val="accent5"/>
                </a:gs>
                <a:gs pos="56000">
                  <a:schemeClr val="accent2"/>
                </a:gs>
                <a:gs pos="40000">
                  <a:srgbClr val="8606B6"/>
                </a:gs>
                <a:gs pos="25000">
                  <a:schemeClr val="accent6">
                    <a:lumMod val="75000"/>
                  </a:schemeClr>
                </a:gs>
                <a:gs pos="12000">
                  <a:srgbClr val="FF0000"/>
                </a:gs>
                <a:gs pos="83000">
                  <a:srgbClr val="EB3345"/>
                </a:gs>
              </a:gsLst>
              <a:lin ang="5400000" scaled="0"/>
            </a:gra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164" name="Chevron 163"/>
            <p:cNvSpPr/>
            <p:nvPr/>
          </p:nvSpPr>
          <p:spPr>
            <a:xfrm rot="8891956">
              <a:off x="8292853" y="6297841"/>
              <a:ext cx="248584" cy="211656"/>
            </a:xfrm>
            <a:prstGeom prst="chevron">
              <a:avLst/>
            </a:prstGeom>
            <a:gradFill>
              <a:gsLst>
                <a:gs pos="0">
                  <a:schemeClr val="accent1">
                    <a:lumMod val="98000"/>
                    <a:lumOff val="2000"/>
                  </a:schemeClr>
                </a:gs>
                <a:gs pos="91500">
                  <a:schemeClr val="accent4"/>
                </a:gs>
                <a:gs pos="100000">
                  <a:srgbClr val="00B050"/>
                </a:gs>
                <a:gs pos="69000">
                  <a:schemeClr val="accent5"/>
                </a:gs>
                <a:gs pos="56000">
                  <a:schemeClr val="accent2"/>
                </a:gs>
                <a:gs pos="40000">
                  <a:srgbClr val="8606B6"/>
                </a:gs>
                <a:gs pos="25000">
                  <a:schemeClr val="accent6">
                    <a:lumMod val="75000"/>
                  </a:schemeClr>
                </a:gs>
                <a:gs pos="12000">
                  <a:srgbClr val="FF0000"/>
                </a:gs>
                <a:gs pos="83000">
                  <a:srgbClr val="EB3345"/>
                </a:gs>
              </a:gsLst>
              <a:lin ang="5400000" scaled="0"/>
            </a:gra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165" name="Chevron 164"/>
            <p:cNvSpPr/>
            <p:nvPr/>
          </p:nvSpPr>
          <p:spPr>
            <a:xfrm rot="10800000">
              <a:off x="6569558" y="6638385"/>
              <a:ext cx="248584" cy="211656"/>
            </a:xfrm>
            <a:prstGeom prst="chevron">
              <a:avLst/>
            </a:prstGeom>
            <a:gradFill>
              <a:gsLst>
                <a:gs pos="0">
                  <a:schemeClr val="accent1">
                    <a:lumMod val="98000"/>
                    <a:lumOff val="2000"/>
                  </a:schemeClr>
                </a:gs>
                <a:gs pos="91500">
                  <a:schemeClr val="accent4"/>
                </a:gs>
                <a:gs pos="100000">
                  <a:srgbClr val="00B050"/>
                </a:gs>
                <a:gs pos="69000">
                  <a:schemeClr val="accent5"/>
                </a:gs>
                <a:gs pos="56000">
                  <a:schemeClr val="accent2"/>
                </a:gs>
                <a:gs pos="40000">
                  <a:srgbClr val="8606B6"/>
                </a:gs>
                <a:gs pos="25000">
                  <a:schemeClr val="accent6">
                    <a:lumMod val="75000"/>
                  </a:schemeClr>
                </a:gs>
                <a:gs pos="12000">
                  <a:srgbClr val="FF0000"/>
                </a:gs>
                <a:gs pos="83000">
                  <a:srgbClr val="EB3345"/>
                </a:gs>
              </a:gsLst>
              <a:lin ang="5400000" scaled="0"/>
            </a:gra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166" name="Chevron 165"/>
            <p:cNvSpPr/>
            <p:nvPr/>
          </p:nvSpPr>
          <p:spPr>
            <a:xfrm rot="13974212">
              <a:off x="3738663" y="4851548"/>
              <a:ext cx="248584" cy="211656"/>
            </a:xfrm>
            <a:prstGeom prst="chevron">
              <a:avLst/>
            </a:prstGeom>
            <a:gradFill>
              <a:gsLst>
                <a:gs pos="0">
                  <a:schemeClr val="accent1">
                    <a:lumMod val="98000"/>
                    <a:lumOff val="2000"/>
                  </a:schemeClr>
                </a:gs>
                <a:gs pos="91500">
                  <a:schemeClr val="accent4"/>
                </a:gs>
                <a:gs pos="100000">
                  <a:srgbClr val="00B050"/>
                </a:gs>
                <a:gs pos="69000">
                  <a:schemeClr val="accent5"/>
                </a:gs>
                <a:gs pos="56000">
                  <a:schemeClr val="accent2"/>
                </a:gs>
                <a:gs pos="40000">
                  <a:srgbClr val="8606B6"/>
                </a:gs>
                <a:gs pos="25000">
                  <a:schemeClr val="accent6">
                    <a:lumMod val="75000"/>
                  </a:schemeClr>
                </a:gs>
                <a:gs pos="12000">
                  <a:srgbClr val="FF0000"/>
                </a:gs>
                <a:gs pos="83000">
                  <a:srgbClr val="EB3345"/>
                </a:gs>
              </a:gsLst>
              <a:lin ang="5400000" scaled="0"/>
            </a:gra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 rot="19709972">
              <a:off x="4866442" y="932812"/>
              <a:ext cx="877968" cy="30777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spc="0" normalizeH="0" baseline="0" dirty="0" smtClean="0">
                  <a:ln>
                    <a:noFill/>
                  </a:ln>
                  <a:solidFill>
                    <a:schemeClr val="accent1"/>
                  </a:solidFill>
                  <a:effectLst/>
                  <a:uFillTx/>
                  <a:latin typeface="+mn-lt"/>
                  <a:ea typeface="+mn-ea"/>
                  <a:cs typeface="+mn-cs"/>
                  <a:sym typeface="Calibri"/>
                </a:rPr>
                <a:t>Fencing</a:t>
              </a:r>
              <a:endParaRPr kumimoji="0" lang="en-US" sz="1400" b="0" i="0" u="none" strike="noStrike" cap="none" spc="0" normalizeH="0" baseline="0" dirty="0">
                <a:ln>
                  <a:noFill/>
                </a:ln>
                <a:solidFill>
                  <a:schemeClr val="accent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167" name="TextBox 166"/>
            <p:cNvSpPr txBox="1"/>
            <p:nvPr/>
          </p:nvSpPr>
          <p:spPr>
            <a:xfrm rot="407854">
              <a:off x="7112372" y="652611"/>
              <a:ext cx="877968" cy="30777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spc="0" normalizeH="0" baseline="0" dirty="0" smtClean="0">
                  <a:ln>
                    <a:noFill/>
                  </a:ln>
                  <a:solidFill>
                    <a:schemeClr val="accent1"/>
                  </a:solidFill>
                  <a:effectLst/>
                  <a:uFillTx/>
                  <a:latin typeface="+mn-lt"/>
                  <a:ea typeface="+mn-ea"/>
                  <a:cs typeface="+mn-cs"/>
                  <a:sym typeface="Calibri"/>
                </a:rPr>
                <a:t>Lighting</a:t>
              </a:r>
              <a:endParaRPr kumimoji="0" lang="en-US" sz="1400" b="0" i="0" u="none" strike="noStrike" cap="none" spc="0" normalizeH="0" baseline="0" dirty="0">
                <a:ln>
                  <a:noFill/>
                </a:ln>
                <a:solidFill>
                  <a:schemeClr val="accent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168" name="TextBox 167"/>
            <p:cNvSpPr txBox="1"/>
            <p:nvPr/>
          </p:nvSpPr>
          <p:spPr>
            <a:xfrm rot="2836445">
              <a:off x="9141814" y="1782482"/>
              <a:ext cx="1058008" cy="30777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spc="0" normalizeH="0" baseline="0" dirty="0" smtClean="0">
                  <a:ln>
                    <a:noFill/>
                  </a:ln>
                  <a:solidFill>
                    <a:schemeClr val="accent1"/>
                  </a:solidFill>
                  <a:effectLst/>
                  <a:uFillTx/>
                  <a:latin typeface="+mn-lt"/>
                  <a:ea typeface="+mn-ea"/>
                  <a:cs typeface="+mn-cs"/>
                  <a:sym typeface="Calibri"/>
                </a:rPr>
                <a:t>Surveillance</a:t>
              </a:r>
              <a:endParaRPr kumimoji="0" lang="en-US" sz="1400" b="0" i="0" u="none" strike="noStrike" cap="none" spc="0" normalizeH="0" baseline="0" dirty="0">
                <a:ln>
                  <a:noFill/>
                </a:ln>
                <a:solidFill>
                  <a:schemeClr val="accent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170" name="TextBox 169"/>
            <p:cNvSpPr txBox="1"/>
            <p:nvPr/>
          </p:nvSpPr>
          <p:spPr>
            <a:xfrm rot="17103052">
              <a:off x="9607638" y="4473625"/>
              <a:ext cx="1168737" cy="30777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spc="0" normalizeH="0" baseline="0" dirty="0" smtClean="0">
                  <a:ln>
                    <a:noFill/>
                  </a:ln>
                  <a:solidFill>
                    <a:schemeClr val="accent1"/>
                  </a:solidFill>
                  <a:effectLst/>
                  <a:uFillTx/>
                  <a:latin typeface="+mn-lt"/>
                  <a:ea typeface="+mn-ea"/>
                  <a:cs typeface="+mn-cs"/>
                  <a:sym typeface="Calibri"/>
                </a:rPr>
                <a:t>Access Control</a:t>
              </a:r>
              <a:endParaRPr kumimoji="0" lang="en-US" sz="1400" b="0" i="0" u="none" strike="noStrike" cap="none" spc="0" normalizeH="0" baseline="0" dirty="0">
                <a:ln>
                  <a:noFill/>
                </a:ln>
                <a:solidFill>
                  <a:schemeClr val="accent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171" name="TextBox 170"/>
            <p:cNvSpPr txBox="1"/>
            <p:nvPr/>
          </p:nvSpPr>
          <p:spPr>
            <a:xfrm rot="19237697">
              <a:off x="8846612" y="5999036"/>
              <a:ext cx="440263" cy="30777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spc="0" normalizeH="0" baseline="0" dirty="0" smtClean="0">
                  <a:ln>
                    <a:noFill/>
                  </a:ln>
                  <a:solidFill>
                    <a:schemeClr val="accent1"/>
                  </a:solidFill>
                  <a:effectLst/>
                  <a:uFillTx/>
                  <a:latin typeface="+mn-lt"/>
                  <a:ea typeface="+mn-ea"/>
                  <a:cs typeface="+mn-cs"/>
                  <a:sym typeface="Calibri"/>
                </a:rPr>
                <a:t>QRT</a:t>
              </a:r>
              <a:endParaRPr kumimoji="0" lang="en-US" sz="1400" b="0" i="0" u="none" strike="noStrike" cap="none" spc="0" normalizeH="0" baseline="0" dirty="0">
                <a:ln>
                  <a:noFill/>
                </a:ln>
                <a:solidFill>
                  <a:schemeClr val="accent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173" name="TextBox 172"/>
            <p:cNvSpPr txBox="1"/>
            <p:nvPr/>
          </p:nvSpPr>
          <p:spPr>
            <a:xfrm rot="20654817">
              <a:off x="7392680" y="6557400"/>
              <a:ext cx="961149" cy="30777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spc="0" normalizeH="0" baseline="0" dirty="0" smtClean="0">
                  <a:ln>
                    <a:noFill/>
                  </a:ln>
                  <a:solidFill>
                    <a:schemeClr val="accent1"/>
                  </a:solidFill>
                  <a:effectLst/>
                  <a:uFillTx/>
                  <a:latin typeface="+mn-lt"/>
                  <a:ea typeface="+mn-ea"/>
                  <a:cs typeface="+mn-cs"/>
                  <a:sym typeface="Calibri"/>
                </a:rPr>
                <a:t>CCC IT Infra</a:t>
              </a:r>
              <a:endParaRPr kumimoji="0" lang="en-US" sz="1400" b="0" i="0" u="none" strike="noStrike" cap="none" spc="0" normalizeH="0" baseline="0" dirty="0">
                <a:ln>
                  <a:noFill/>
                </a:ln>
                <a:solidFill>
                  <a:schemeClr val="accent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174" name="TextBox 173"/>
            <p:cNvSpPr txBox="1"/>
            <p:nvPr/>
          </p:nvSpPr>
          <p:spPr>
            <a:xfrm rot="2054172">
              <a:off x="4216689" y="6048471"/>
              <a:ext cx="1239066" cy="30777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spc="0" normalizeH="0" baseline="0" dirty="0" smtClean="0">
                  <a:ln>
                    <a:noFill/>
                  </a:ln>
                  <a:solidFill>
                    <a:schemeClr val="accent1"/>
                  </a:solidFill>
                  <a:effectLst/>
                  <a:uFillTx/>
                  <a:latin typeface="+mn-lt"/>
                  <a:ea typeface="+mn-ea"/>
                  <a:cs typeface="+mn-cs"/>
                  <a:sym typeface="Calibri"/>
                </a:rPr>
                <a:t>Miscellaneous</a:t>
              </a:r>
              <a:endParaRPr kumimoji="0" lang="en-US" sz="1400" b="0" i="0" u="none" strike="noStrike" cap="none" spc="0" normalizeH="0" baseline="0" dirty="0">
                <a:ln>
                  <a:noFill/>
                </a:ln>
                <a:solidFill>
                  <a:schemeClr val="accent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175" name="TextBox 174"/>
            <p:cNvSpPr txBox="1"/>
            <p:nvPr/>
          </p:nvSpPr>
          <p:spPr>
            <a:xfrm rot="17304993">
              <a:off x="3007789" y="2697960"/>
              <a:ext cx="1239066" cy="30777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spc="0" normalizeH="0" baseline="0" dirty="0" smtClean="0">
                  <a:ln>
                    <a:noFill/>
                  </a:ln>
                  <a:solidFill>
                    <a:schemeClr val="accent1"/>
                  </a:solidFill>
                  <a:effectLst/>
                  <a:uFillTx/>
                  <a:latin typeface="+mn-lt"/>
                  <a:ea typeface="+mn-ea"/>
                  <a:cs typeface="+mn-cs"/>
                  <a:sym typeface="Calibri"/>
                </a:rPr>
                <a:t>OFC based PIDS</a:t>
              </a:r>
              <a:endParaRPr kumimoji="0" lang="en-US" sz="1400" b="0" i="0" u="none" strike="noStrike" cap="none" spc="0" normalizeH="0" baseline="0" dirty="0">
                <a:ln>
                  <a:noFill/>
                </a:ln>
                <a:solidFill>
                  <a:schemeClr val="accent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endParaRPr>
            </a:p>
          </p:txBody>
        </p:sp>
      </p:grpSp>
      <p:sp>
        <p:nvSpPr>
          <p:cNvPr id="7" name="TextBox 6"/>
          <p:cNvSpPr txBox="1"/>
          <p:nvPr/>
        </p:nvSpPr>
        <p:spPr>
          <a:xfrm>
            <a:off x="87471" y="1234110"/>
            <a:ext cx="3196691" cy="7694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200" b="0" i="0" u="none" strike="noStrike" cap="none" spc="0" normalizeH="0" baseline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Integrated approach &amp; system</a:t>
            </a:r>
            <a:endParaRPr kumimoji="0" lang="en-US" sz="2200" b="0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87" name="TextBox 186"/>
          <p:cNvSpPr txBox="1"/>
          <p:nvPr/>
        </p:nvSpPr>
        <p:spPr>
          <a:xfrm>
            <a:off x="66949" y="2374437"/>
            <a:ext cx="3196691" cy="7694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200" b="0" i="0" u="none" strike="noStrike" cap="none" spc="0" normalizeH="0" baseline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Seamless protection</a:t>
            </a:r>
            <a:r>
              <a:rPr kumimoji="0" lang="en-US" sz="2200" b="0" i="0" u="none" strike="noStrike" cap="none" spc="0" normalizeH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 for unapproachable areas</a:t>
            </a:r>
            <a:endParaRPr kumimoji="0" lang="en-US" sz="2200" b="0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89" name="TextBox 188"/>
          <p:cNvSpPr txBox="1"/>
          <p:nvPr/>
        </p:nvSpPr>
        <p:spPr>
          <a:xfrm>
            <a:off x="61976" y="3486019"/>
            <a:ext cx="3196691" cy="7694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200" b="0" i="0" u="none" strike="noStrike" cap="none" spc="0" normalizeH="0" baseline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Invisible</a:t>
            </a:r>
            <a:r>
              <a:rPr kumimoji="0" lang="en-US" sz="2200" b="0" i="0" u="none" strike="noStrike" cap="none" spc="0" normalizeH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 </a:t>
            </a:r>
            <a:r>
              <a:rPr kumimoji="0" lang="en-US" sz="2200" b="0" i="0" u="none" strike="noStrike" cap="none" spc="0" normalizeH="0" baseline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protection</a:t>
            </a:r>
            <a:r>
              <a:rPr kumimoji="0" lang="en-US" sz="2200" b="0" i="0" u="none" strike="noStrike" cap="none" spc="0" normalizeH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 for easy access areas</a:t>
            </a:r>
            <a:endParaRPr kumimoji="0" lang="en-US" sz="2200" b="0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90" name="TextBox 189"/>
          <p:cNvSpPr txBox="1"/>
          <p:nvPr/>
        </p:nvSpPr>
        <p:spPr>
          <a:xfrm>
            <a:off x="0" y="4609653"/>
            <a:ext cx="3281095" cy="7694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200" b="0" i="0" u="none" strike="noStrike" cap="none" spc="0" normalizeH="0" baseline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Analytics resulting in collective</a:t>
            </a:r>
            <a:r>
              <a:rPr kumimoji="0" lang="en-US" sz="2200" b="0" i="0" u="none" strike="noStrike" cap="none" spc="0" normalizeH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 useful outcome</a:t>
            </a:r>
            <a:endParaRPr kumimoji="0" lang="en-US" sz="2200" b="0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92" name="TextBox 191"/>
          <p:cNvSpPr txBox="1"/>
          <p:nvPr/>
        </p:nvSpPr>
        <p:spPr>
          <a:xfrm>
            <a:off x="342900" y="5716998"/>
            <a:ext cx="2655593" cy="7694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200" b="0" i="0" u="none" strike="noStrike" cap="none" spc="0" normalizeH="0" baseline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All</a:t>
            </a:r>
            <a:r>
              <a:rPr kumimoji="0" lang="en-US" sz="2200" b="0" i="0" u="none" strike="noStrike" cap="none" spc="0" normalizeH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 weather robust rugged solution</a:t>
            </a:r>
            <a:endParaRPr kumimoji="0" lang="en-US" sz="2200" b="0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L One Stop Solution</a:t>
            </a:r>
          </a:p>
        </p:txBody>
      </p:sp>
    </p:spTree>
    <p:extLst>
      <p:ext uri="{BB962C8B-B14F-4D97-AF65-F5344CB8AC3E}">
        <p14:creationId xmlns:p14="http://schemas.microsoft.com/office/powerpoint/2010/main" val="124740234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2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6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5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5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8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4" dur="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7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0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3" dur="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6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9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0" fill="hold">
                      <p:stCondLst>
                        <p:cond delay="indefinite"/>
                      </p:stCondLst>
                      <p:childTnLst>
                        <p:par>
                          <p:cTn id="171" fill="hold">
                            <p:stCondLst>
                              <p:cond delay="0"/>
                            </p:stCondLst>
                            <p:childTnLst>
                              <p:par>
                                <p:cTn id="17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4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8" fill="hold">
                      <p:stCondLst>
                        <p:cond delay="indefinite"/>
                      </p:stCondLst>
                      <p:childTnLst>
                        <p:par>
                          <p:cTn id="179" fill="hold">
                            <p:stCondLst>
                              <p:cond delay="0"/>
                            </p:stCondLst>
                            <p:childTnLst>
                              <p:par>
                                <p:cTn id="18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5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8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4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7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0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3" dur="500"/>
                                        <p:tgtEl>
                                          <p:spTgt spid="2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6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9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2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5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8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1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4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7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0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3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6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9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0" fill="hold">
                      <p:stCondLst>
                        <p:cond delay="indefinite"/>
                      </p:stCondLst>
                      <p:childTnLst>
                        <p:par>
                          <p:cTn id="241" fill="hold">
                            <p:stCondLst>
                              <p:cond delay="0"/>
                            </p:stCondLst>
                            <p:childTnLst>
                              <p:par>
                                <p:cTn id="24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4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7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3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4" fill="hold">
                      <p:stCondLst>
                        <p:cond delay="indefinite"/>
                      </p:stCondLst>
                      <p:childTnLst>
                        <p:par>
                          <p:cTn id="255" fill="hold">
                            <p:stCondLst>
                              <p:cond delay="0"/>
                            </p:stCondLst>
                            <p:childTnLst>
                              <p:par>
                                <p:cTn id="25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8" dur="5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9" fill="hold">
                      <p:stCondLst>
                        <p:cond delay="indefinite"/>
                      </p:stCondLst>
                      <p:childTnLst>
                        <p:par>
                          <p:cTn id="260" fill="hold">
                            <p:stCondLst>
                              <p:cond delay="0"/>
                            </p:stCondLst>
                            <p:childTnLst>
                              <p:par>
                                <p:cTn id="26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6" dur="500"/>
                                        <p:tgtEl>
                                          <p:spTgt spid="2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0" fill="hold">
                      <p:stCondLst>
                        <p:cond delay="indefinite"/>
                      </p:stCondLst>
                      <p:childTnLst>
                        <p:par>
                          <p:cTn id="271" fill="hold">
                            <p:stCondLst>
                              <p:cond delay="0"/>
                            </p:stCondLst>
                            <p:childTnLst>
                              <p:par>
                                <p:cTn id="272" presetID="26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3" dur="500" tmFilter="0, 0; .2, .5; .8, .5; 1, 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74" dur="250" autoRev="1" fill="hold"/>
                                        <p:tgtEl>
                                          <p:spTgt spid="17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75" presetID="2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6" dur="500" tmFilter="0, 0; .2, .5; .8, .5; 1, 0"/>
                                        <p:tgtEl>
                                          <p:spTgt spid="26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77" dur="250" autoRev="1" fill="hold"/>
                                        <p:tgtEl>
                                          <p:spTgt spid="26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78" presetID="2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9" dur="500" tmFilter="0, 0; .2, .5; .8, .5; 1, 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80" dur="250" autoRev="1" fill="hold"/>
                                        <p:tgtEl>
                                          <p:spTgt spid="1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1" fill="hold">
                      <p:stCondLst>
                        <p:cond delay="indefinite"/>
                      </p:stCondLst>
                      <p:childTnLst>
                        <p:par>
                          <p:cTn id="282" fill="hold">
                            <p:stCondLst>
                              <p:cond delay="0"/>
                            </p:stCondLst>
                            <p:childTnLst>
                              <p:par>
                                <p:cTn id="283" presetID="1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5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7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1" fill="hold">
                      <p:stCondLst>
                        <p:cond delay="indefinite"/>
                      </p:stCondLst>
                      <p:childTnLst>
                        <p:par>
                          <p:cTn id="292" fill="hold">
                            <p:stCondLst>
                              <p:cond delay="0"/>
                            </p:stCondLst>
                            <p:childTnLst>
                              <p:par>
                                <p:cTn id="29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5" dur="500"/>
                                        <p:tgtEl>
                                          <p:spTgt spid="2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6" fill="hold">
                      <p:stCondLst>
                        <p:cond delay="indefinite"/>
                      </p:stCondLst>
                      <p:childTnLst>
                        <p:par>
                          <p:cTn id="297" fill="hold">
                            <p:stCondLst>
                              <p:cond delay="0"/>
                            </p:stCondLst>
                            <p:childTnLst>
                              <p:par>
                                <p:cTn id="29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0" dur="500"/>
                                        <p:tgtEl>
                                          <p:spTgt spid="1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3" dur="500"/>
                                        <p:tgtEl>
                                          <p:spTgt spid="2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6" dur="500"/>
                                        <p:tgtEl>
                                          <p:spTgt spid="2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9" dur="500"/>
                                        <p:tgtEl>
                                          <p:spTgt spid="2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2" dur="500"/>
                                        <p:tgtEl>
                                          <p:spTgt spid="2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5" dur="500"/>
                                        <p:tgtEl>
                                          <p:spTgt spid="2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8" dur="500"/>
                                        <p:tgtEl>
                                          <p:spTgt spid="2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9" fill="hold">
                      <p:stCondLst>
                        <p:cond delay="indefinite"/>
                      </p:stCondLst>
                      <p:childTnLst>
                        <p:par>
                          <p:cTn id="320" fill="hold">
                            <p:stCondLst>
                              <p:cond delay="0"/>
                            </p:stCondLst>
                            <p:childTnLst>
                              <p:par>
                                <p:cTn id="321" presetID="26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2" dur="500" tmFilter="0, 0; .2, .5; .8, .5; 1, 0"/>
                                        <p:tgtEl>
                                          <p:spTgt spid="24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23" dur="250" autoRev="1" fill="hold"/>
                                        <p:tgtEl>
                                          <p:spTgt spid="24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24" presetID="2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5" dur="500" tmFilter="0, 0; .2, .5; .8, .5; 1, 0"/>
                                        <p:tgtEl>
                                          <p:spTgt spid="25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26" dur="250" autoRev="1" fill="hold"/>
                                        <p:tgtEl>
                                          <p:spTgt spid="25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27" presetID="2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8" dur="500" tmFilter="0, 0; .2, .5; .8, .5; 1, 0"/>
                                        <p:tgtEl>
                                          <p:spTgt spid="22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29" dur="250" autoRev="1" fill="hold"/>
                                        <p:tgtEl>
                                          <p:spTgt spid="22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30" presetID="2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1" dur="500" tmFilter="0, 0; .2, .5; .8, .5; 1, 0"/>
                                        <p:tgtEl>
                                          <p:spTgt spid="22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32" dur="250" autoRev="1" fill="hold"/>
                                        <p:tgtEl>
                                          <p:spTgt spid="22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33" presetID="2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4" dur="500" tmFilter="0, 0; .2, .5; .8, .5; 1, 0"/>
                                        <p:tgtEl>
                                          <p:spTgt spid="23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35" dur="250" autoRev="1" fill="hold"/>
                                        <p:tgtEl>
                                          <p:spTgt spid="23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36" presetID="2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7" dur="500" tmFilter="0, 0; .2, .5; .8, .5; 1, 0"/>
                                        <p:tgtEl>
                                          <p:spTgt spid="25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38" dur="250" autoRev="1" fill="hold"/>
                                        <p:tgtEl>
                                          <p:spTgt spid="25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39" presetID="2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0" dur="500" tmFilter="0, 0; .2, .5; .8, .5; 1, 0"/>
                                        <p:tgtEl>
                                          <p:spTgt spid="22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41" dur="250" autoRev="1" fill="hold"/>
                                        <p:tgtEl>
                                          <p:spTgt spid="22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2" fill="hold">
                      <p:stCondLst>
                        <p:cond delay="indefinite"/>
                      </p:stCondLst>
                      <p:childTnLst>
                        <p:par>
                          <p:cTn id="343" fill="hold">
                            <p:stCondLst>
                              <p:cond delay="0"/>
                            </p:stCondLst>
                            <p:childTnLst>
                              <p:par>
                                <p:cTn id="344" presetID="1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6" fill="hold">
                      <p:stCondLst>
                        <p:cond delay="indefinite"/>
                      </p:stCondLst>
                      <p:childTnLst>
                        <p:par>
                          <p:cTn id="347" fill="hold">
                            <p:stCondLst>
                              <p:cond delay="0"/>
                            </p:stCondLst>
                            <p:childTnLst>
                              <p:par>
                                <p:cTn id="3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0" dur="500"/>
                                        <p:tgtEl>
                                          <p:spTgt spid="1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1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3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5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7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9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1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5" dur="500"/>
                                        <p:tgtEl>
                                          <p:spTgt spid="2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8" dur="500"/>
                                        <p:tgtEl>
                                          <p:spTgt spid="2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1" dur="500"/>
                                        <p:tgtEl>
                                          <p:spTgt spid="2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4" dur="500"/>
                                        <p:tgtEl>
                                          <p:spTgt spid="2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7" fill="hold">
                      <p:stCondLst>
                        <p:cond delay="indefinite"/>
                      </p:stCondLst>
                      <p:childTnLst>
                        <p:par>
                          <p:cTn id="378" fill="hold">
                            <p:stCondLst>
                              <p:cond delay="0"/>
                            </p:stCondLst>
                            <p:childTnLst>
                              <p:par>
                                <p:cTn id="379" presetID="26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0" dur="500" tmFilter="0, 0; .2, .5; .8, .5; 1, 0"/>
                                        <p:tgtEl>
                                          <p:spTgt spid="23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81" dur="250" autoRev="1" fill="hold"/>
                                        <p:tgtEl>
                                          <p:spTgt spid="23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82" presetID="2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3" dur="500" tmFilter="0, 0; .2, .5; .8, .5; 1, 0"/>
                                        <p:tgtEl>
                                          <p:spTgt spid="24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84" dur="250" autoRev="1" fill="hold"/>
                                        <p:tgtEl>
                                          <p:spTgt spid="24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85" presetID="2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6" dur="500" tmFilter="0, 0; .2, .5; .8, .5; 1, 0"/>
                                        <p:tgtEl>
                                          <p:spTgt spid="23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87" dur="250" autoRev="1" fill="hold"/>
                                        <p:tgtEl>
                                          <p:spTgt spid="23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88" presetID="2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9" dur="500" tmFilter="0, 0; .2, .5; .8, .5; 1, 0"/>
                                        <p:tgtEl>
                                          <p:spTgt spid="25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90" dur="250" autoRev="1" fill="hold"/>
                                        <p:tgtEl>
                                          <p:spTgt spid="25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1" fill="hold">
                      <p:stCondLst>
                        <p:cond delay="indefinite"/>
                      </p:stCondLst>
                      <p:childTnLst>
                        <p:par>
                          <p:cTn id="392" fill="hold">
                            <p:stCondLst>
                              <p:cond delay="0"/>
                            </p:stCondLst>
                            <p:childTnLst>
                              <p:par>
                                <p:cTn id="393" presetID="1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7" fill="hold">
                      <p:stCondLst>
                        <p:cond delay="indefinite"/>
                      </p:stCondLst>
                      <p:childTnLst>
                        <p:par>
                          <p:cTn id="398" fill="hold">
                            <p:stCondLst>
                              <p:cond delay="0"/>
                            </p:stCondLst>
                            <p:childTnLst>
                              <p:par>
                                <p:cTn id="39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1" dur="500"/>
                                        <p:tgtEl>
                                          <p:spTgt spid="1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2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4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6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0" dur="500"/>
                                        <p:tgtEl>
                                          <p:spTgt spid="2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3" dur="500"/>
                                        <p:tgtEl>
                                          <p:spTgt spid="2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6" dur="500"/>
                                        <p:tgtEl>
                                          <p:spTgt spid="2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9" dur="500"/>
                                        <p:tgtEl>
                                          <p:spTgt spid="2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2" dur="500"/>
                                        <p:tgtEl>
                                          <p:spTgt spid="2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3" fill="hold">
                      <p:stCondLst>
                        <p:cond delay="indefinite"/>
                      </p:stCondLst>
                      <p:childTnLst>
                        <p:par>
                          <p:cTn id="424" fill="hold">
                            <p:stCondLst>
                              <p:cond delay="0"/>
                            </p:stCondLst>
                            <p:childTnLst>
                              <p:par>
                                <p:cTn id="425" presetID="26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6" dur="500" tmFilter="0, 0; .2, .5; .8, .5; 1, 0"/>
                                        <p:tgtEl>
                                          <p:spTgt spid="24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27" dur="250" autoRev="1" fill="hold"/>
                                        <p:tgtEl>
                                          <p:spTgt spid="24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28" presetID="2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9" dur="500" tmFilter="0, 0; .2, .5; .8, .5; 1, 0"/>
                                        <p:tgtEl>
                                          <p:spTgt spid="26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30" dur="250" autoRev="1" fill="hold"/>
                                        <p:tgtEl>
                                          <p:spTgt spid="26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31" presetID="2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32" dur="500" tmFilter="0, 0; .2, .5; .8, .5; 1, 0"/>
                                        <p:tgtEl>
                                          <p:spTgt spid="23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33" dur="250" autoRev="1" fill="hold"/>
                                        <p:tgtEl>
                                          <p:spTgt spid="23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34" presetID="2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35" dur="500" tmFilter="0, 0; .2, .5; .8, .5; 1, 0"/>
                                        <p:tgtEl>
                                          <p:spTgt spid="25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36" dur="250" autoRev="1" fill="hold"/>
                                        <p:tgtEl>
                                          <p:spTgt spid="25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37" presetID="2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38" dur="500" tmFilter="0, 0; .2, .5; .8, .5; 1, 0"/>
                                        <p:tgtEl>
                                          <p:spTgt spid="26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39" dur="250" autoRev="1" fill="hold"/>
                                        <p:tgtEl>
                                          <p:spTgt spid="26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0" fill="hold">
                      <p:stCondLst>
                        <p:cond delay="indefinite"/>
                      </p:stCondLst>
                      <p:childTnLst>
                        <p:par>
                          <p:cTn id="441" fill="hold">
                            <p:stCondLst>
                              <p:cond delay="0"/>
                            </p:stCondLst>
                            <p:childTnLst>
                              <p:par>
                                <p:cTn id="442" presetID="1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4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6" fill="hold">
                      <p:stCondLst>
                        <p:cond delay="indefinite"/>
                      </p:stCondLst>
                      <p:childTnLst>
                        <p:par>
                          <p:cTn id="447" fill="hold">
                            <p:stCondLst>
                              <p:cond delay="0"/>
                            </p:stCondLst>
                            <p:childTnLst>
                              <p:par>
                                <p:cTn id="4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0" dur="500"/>
                                        <p:tgtEl>
                                          <p:spTgt spid="1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1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3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5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7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1" dur="500"/>
                                        <p:tgtEl>
                                          <p:spTgt spid="2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4" dur="500"/>
                                        <p:tgtEl>
                                          <p:spTgt spid="2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7" dur="500"/>
                                        <p:tgtEl>
                                          <p:spTgt spid="2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0" dur="500"/>
                                        <p:tgtEl>
                                          <p:spTgt spid="2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3" dur="500"/>
                                        <p:tgtEl>
                                          <p:spTgt spid="2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4" fill="hold">
                      <p:stCondLst>
                        <p:cond delay="indefinite"/>
                      </p:stCondLst>
                      <p:childTnLst>
                        <p:par>
                          <p:cTn id="475" fill="hold">
                            <p:stCondLst>
                              <p:cond delay="0"/>
                            </p:stCondLst>
                            <p:childTnLst>
                              <p:par>
                                <p:cTn id="476" presetID="26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7" dur="500" tmFilter="0, 0; .2, .5; .8, .5; 1, 0"/>
                                        <p:tgtEl>
                                          <p:spTgt spid="24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78" dur="250" autoRev="1" fill="hold"/>
                                        <p:tgtEl>
                                          <p:spTgt spid="24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79" presetID="2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0" dur="500" tmFilter="0, 0; .2, .5; .8, .5; 1, 0"/>
                                        <p:tgtEl>
                                          <p:spTgt spid="26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81" dur="250" autoRev="1" fill="hold"/>
                                        <p:tgtEl>
                                          <p:spTgt spid="26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82" presetID="2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3" dur="500" tmFilter="0, 0; .2, .5; .8, .5; 1, 0"/>
                                        <p:tgtEl>
                                          <p:spTgt spid="24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84" dur="250" autoRev="1" fill="hold"/>
                                        <p:tgtEl>
                                          <p:spTgt spid="24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85" presetID="2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6" dur="500" tmFilter="0, 0; .2, .5; .8, .5; 1, 0"/>
                                        <p:tgtEl>
                                          <p:spTgt spid="25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87" dur="250" autoRev="1" fill="hold"/>
                                        <p:tgtEl>
                                          <p:spTgt spid="25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88" presetID="2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9" dur="500" tmFilter="0, 0; .2, .5; .8, .5; 1, 0"/>
                                        <p:tgtEl>
                                          <p:spTgt spid="23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90" dur="250" autoRev="1" fill="hold"/>
                                        <p:tgtEl>
                                          <p:spTgt spid="23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1" fill="hold">
                      <p:stCondLst>
                        <p:cond delay="indefinite"/>
                      </p:stCondLst>
                      <p:childTnLst>
                        <p:par>
                          <p:cTn id="492" fill="hold">
                            <p:stCondLst>
                              <p:cond delay="0"/>
                            </p:stCondLst>
                            <p:childTnLst>
                              <p:par>
                                <p:cTn id="493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94" dur="500"/>
                                        <p:tgtEl>
                                          <p:spTgt spid="24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6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97" dur="500"/>
                                        <p:tgtEl>
                                          <p:spTgt spid="26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9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00" dur="500"/>
                                        <p:tgtEl>
                                          <p:spTgt spid="24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2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03" dur="500"/>
                                        <p:tgtEl>
                                          <p:spTgt spid="25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5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06" dur="500"/>
                                        <p:tgtEl>
                                          <p:spTgt spid="2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8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2" dur="5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7" grpId="0" animBg="1"/>
      <p:bldP spid="177" grpId="1" animBg="1"/>
      <p:bldP spid="177" grpId="2" animBg="1"/>
      <p:bldP spid="10" grpId="0" animBg="1"/>
      <p:bldP spid="10" grpId="1" animBg="1"/>
      <p:bldP spid="10" grpId="2" animBg="1"/>
      <p:bldP spid="112" grpId="0" animBg="1"/>
      <p:bldP spid="113" grpId="0" animBg="1"/>
      <p:bldP spid="114" grpId="0" animBg="1"/>
      <p:bldP spid="115" grpId="0" animBg="1"/>
      <p:bldP spid="117" grpId="0" animBg="1"/>
      <p:bldP spid="118" grpId="0" animBg="1"/>
      <p:bldP spid="121" grpId="0" animBg="1"/>
      <p:bldP spid="116" grpId="0" animBg="1"/>
      <p:bldP spid="14" grpId="0"/>
      <p:bldP spid="123" grpId="0"/>
      <p:bldP spid="124" grpId="0"/>
      <p:bldP spid="125" grpId="0"/>
      <p:bldP spid="126" grpId="0"/>
      <p:bldP spid="127" grpId="0"/>
      <p:bldP spid="128" grpId="0"/>
      <p:bldP spid="129" grpId="0"/>
      <p:bldP spid="130" grpId="0"/>
      <p:bldP spid="131" grpId="0"/>
      <p:bldP spid="132" grpId="0"/>
      <p:bldP spid="133" grpId="0"/>
      <p:bldP spid="134" grpId="0"/>
      <p:bldP spid="135" grpId="0"/>
      <p:bldP spid="136" grpId="0"/>
      <p:bldP spid="137" grpId="0"/>
      <p:bldP spid="138" grpId="0"/>
      <p:bldP spid="139" grpId="0"/>
      <p:bldP spid="140" grpId="0"/>
      <p:bldP spid="141" grpId="0"/>
      <p:bldP spid="142" grpId="0"/>
      <p:bldP spid="143" grpId="0"/>
      <p:bldP spid="144" grpId="0"/>
      <p:bldP spid="145" grpId="0"/>
      <p:bldP spid="146" grpId="0"/>
      <p:bldP spid="226" grpId="0"/>
      <p:bldP spid="229" grpId="0" animBg="1"/>
      <p:bldP spid="229" grpId="1" animBg="1"/>
      <p:bldP spid="229" grpId="2" animBg="1"/>
      <p:bldP spid="230" grpId="0" animBg="1"/>
      <p:bldP spid="230" grpId="1" animBg="1"/>
      <p:bldP spid="230" grpId="2" animBg="1"/>
      <p:bldP spid="231" grpId="0" animBg="1"/>
      <p:bldP spid="231" grpId="1" animBg="1"/>
      <p:bldP spid="231" grpId="2" animBg="1"/>
      <p:bldP spid="232" grpId="0" animBg="1"/>
      <p:bldP spid="232" grpId="1" animBg="1"/>
      <p:bldP spid="232" grpId="2" animBg="1"/>
      <p:bldP spid="233" grpId="0" animBg="1"/>
      <p:bldP spid="233" grpId="1" animBg="1"/>
      <p:bldP spid="233" grpId="2" animBg="1"/>
      <p:bldP spid="240" grpId="0"/>
      <p:bldP spid="245" grpId="0" animBg="1"/>
      <p:bldP spid="245" grpId="1" animBg="1"/>
      <p:bldP spid="245" grpId="2" animBg="1"/>
      <p:bldP spid="246" grpId="0" animBg="1"/>
      <p:bldP spid="246" grpId="1" animBg="1"/>
      <p:bldP spid="246" grpId="2" animBg="1"/>
      <p:bldP spid="247" grpId="0" animBg="1"/>
      <p:bldP spid="247" grpId="1" animBg="1"/>
      <p:bldP spid="247" grpId="2" animBg="1"/>
      <p:bldP spid="248" grpId="0" animBg="1"/>
      <p:bldP spid="248" grpId="1" animBg="1"/>
      <p:bldP spid="248" grpId="2" animBg="1"/>
      <p:bldP spid="249" grpId="0" animBg="1"/>
      <p:bldP spid="249" grpId="1" animBg="1"/>
      <p:bldP spid="249" grpId="2" animBg="1"/>
      <p:bldP spid="250" grpId="0" animBg="1"/>
      <p:bldP spid="250" grpId="1" animBg="1"/>
      <p:bldP spid="250" grpId="2" animBg="1"/>
      <p:bldP spid="251" grpId="0" animBg="1"/>
      <p:bldP spid="251" grpId="1" animBg="1"/>
      <p:bldP spid="251" grpId="2" animBg="1"/>
      <p:bldP spid="254" grpId="0" animBg="1"/>
      <p:bldP spid="254" grpId="1" animBg="1"/>
      <p:bldP spid="254" grpId="2" animBg="1"/>
      <p:bldP spid="234" grpId="0" animBg="1"/>
      <p:bldP spid="234" grpId="1" animBg="1"/>
      <p:bldP spid="234" grpId="2" animBg="1"/>
      <p:bldP spid="256" grpId="0" animBg="1"/>
      <p:bldP spid="256" grpId="1" animBg="1"/>
      <p:bldP spid="256" grpId="2" animBg="1"/>
      <p:bldP spid="259" grpId="0" animBg="1"/>
      <p:bldP spid="259" grpId="1" animBg="1"/>
      <p:bldP spid="259" grpId="2" animBg="1"/>
      <p:bldP spid="260" grpId="0" animBg="1"/>
      <p:bldP spid="260" grpId="1" animBg="1"/>
      <p:bldP spid="260" grpId="2" animBg="1"/>
      <p:bldP spid="261" grpId="0" animBg="1"/>
      <p:bldP spid="261" grpId="1" animBg="1"/>
      <p:bldP spid="261" grpId="2" animBg="1"/>
      <p:bldP spid="262" grpId="0" animBg="1"/>
      <p:bldP spid="262" grpId="1" animBg="1"/>
      <p:bldP spid="262" grpId="2" animBg="1"/>
      <p:bldP spid="263" grpId="0" animBg="1"/>
      <p:bldP spid="263" grpId="1" animBg="1"/>
      <p:bldP spid="263" grpId="2" animBg="1"/>
      <p:bldP spid="154" grpId="0"/>
      <p:bldP spid="228" grpId="0" animBg="1"/>
      <p:bldP spid="228" grpId="1" animBg="1"/>
      <p:bldP spid="228" grpId="2" animBg="1"/>
      <p:bldP spid="227" grpId="0" animBg="1"/>
      <p:bldP spid="227" grpId="1" animBg="1"/>
      <p:bldP spid="227" grpId="2" animBg="1"/>
      <p:bldP spid="158" grpId="0"/>
      <p:bldP spid="7" grpId="0"/>
      <p:bldP spid="7" grpId="1"/>
      <p:bldP spid="187" grpId="0"/>
      <p:bldP spid="187" grpId="1"/>
      <p:bldP spid="189" grpId="0"/>
      <p:bldP spid="189" grpId="1"/>
      <p:bldP spid="190" grpId="0"/>
      <p:bldP spid="190" grpId="1"/>
      <p:bldP spid="192" grpId="0"/>
      <p:bldP spid="192" grpId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© 2019-2020 </a:t>
            </a:r>
            <a:r>
              <a:rPr lang="en-IN" smtClean="0"/>
              <a:t>Sterlite Technologies Limited</a:t>
            </a:r>
            <a:endParaRPr lang="en-US" dirty="0"/>
          </a:p>
        </p:txBody>
      </p:sp>
      <p:sp>
        <p:nvSpPr>
          <p:cNvPr id="17" name="Slide Number Placeholder 3"/>
          <p:cNvSpPr>
            <a:spLocks noGrp="1"/>
          </p:cNvSpPr>
          <p:nvPr>
            <p:ph type="sldNum" sz="quarter" idx="2"/>
          </p:nvPr>
        </p:nvSpPr>
        <p:spPr>
          <a:xfrm>
            <a:off x="11924168" y="6896541"/>
            <a:ext cx="245751" cy="225709"/>
          </a:xfrm>
        </p:spPr>
        <p:txBody>
          <a:bodyPr/>
          <a:lstStyle/>
          <a:p>
            <a:fld id="{86CB4B4D-7CA3-9044-876B-883B54F8677D}" type="slidenum">
              <a:rPr lang="en-IN" smtClean="0"/>
              <a:t>12</a:t>
            </a:fld>
            <a:endParaRPr lang="en-IN"/>
          </a:p>
        </p:txBody>
      </p:sp>
      <p:sp>
        <p:nvSpPr>
          <p:cNvPr id="18" name="Title 5"/>
          <p:cNvSpPr txBox="1">
            <a:spLocks/>
          </p:cNvSpPr>
          <p:nvPr/>
        </p:nvSpPr>
        <p:spPr>
          <a:xfrm>
            <a:off x="4056133" y="950017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R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2pPr>
            <a:lvl3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3pPr>
            <a:lvl4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4pPr>
            <a:lvl5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5pPr>
            <a:lvl6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6pPr>
            <a:lvl7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7pPr>
            <a:lvl8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8pPr>
            <a:lvl9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9pPr>
          </a:lstStyle>
          <a:p>
            <a:r>
              <a:rPr lang="en-IN" dirty="0"/>
              <a:t>About Us</a:t>
            </a:r>
          </a:p>
        </p:txBody>
      </p:sp>
      <p:sp>
        <p:nvSpPr>
          <p:cNvPr id="19" name="Title 5"/>
          <p:cNvSpPr txBox="1">
            <a:spLocks/>
          </p:cNvSpPr>
          <p:nvPr/>
        </p:nvSpPr>
        <p:spPr>
          <a:xfrm>
            <a:off x="4833430" y="4269410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STL has the KEY</a:t>
            </a:r>
            <a:endParaRPr lang="en-IN" kern="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0" name="Title 5"/>
          <p:cNvSpPr txBox="1">
            <a:spLocks/>
          </p:cNvSpPr>
          <p:nvPr/>
        </p:nvSpPr>
        <p:spPr>
          <a:xfrm>
            <a:off x="5262920" y="3788917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endParaRPr lang="en-IN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1" name="Title 5"/>
          <p:cNvSpPr txBox="1">
            <a:spLocks/>
          </p:cNvSpPr>
          <p:nvPr/>
        </p:nvSpPr>
        <p:spPr>
          <a:xfrm>
            <a:off x="5262920" y="3923116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endParaRPr lang="en-IN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2" name="Title 5"/>
          <p:cNvSpPr txBox="1">
            <a:spLocks/>
          </p:cNvSpPr>
          <p:nvPr/>
        </p:nvSpPr>
        <p:spPr>
          <a:xfrm>
            <a:off x="4638023" y="4760365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endParaRPr lang="en-IN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4" name="Title 5"/>
          <p:cNvSpPr txBox="1">
            <a:spLocks/>
          </p:cNvSpPr>
          <p:nvPr/>
        </p:nvSpPr>
        <p:spPr>
          <a:xfrm>
            <a:off x="5415320" y="2507062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R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2pPr>
            <a:lvl3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3pPr>
            <a:lvl4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4pPr>
            <a:lvl5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5pPr>
            <a:lvl6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6pPr>
            <a:lvl7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7pPr>
            <a:lvl8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8pPr>
            <a:lvl9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9pPr>
          </a:lstStyle>
          <a:p>
            <a:r>
              <a:rPr lang="en-IN" dirty="0"/>
              <a:t>Network Concerns &amp; Solution</a:t>
            </a:r>
          </a:p>
        </p:txBody>
      </p:sp>
      <p:sp>
        <p:nvSpPr>
          <p:cNvPr id="25" name="Title 5"/>
          <p:cNvSpPr txBox="1">
            <a:spLocks/>
          </p:cNvSpPr>
          <p:nvPr/>
        </p:nvSpPr>
        <p:spPr>
          <a:xfrm>
            <a:off x="5415320" y="3415581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R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kern="0" cap="none" spc="0" baseline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2pPr>
            <a:lvl3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3pPr>
            <a:lvl4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4pPr>
            <a:lvl5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5pPr>
            <a:lvl6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6pPr>
            <a:lvl7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7pPr>
            <a:lvl8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8pPr>
            <a:lvl9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9pPr>
          </a:lstStyle>
          <a:p>
            <a:r>
              <a:rPr lang="en-IN" dirty="0"/>
              <a:t>Border Concerns &amp; Solution</a:t>
            </a:r>
          </a:p>
        </p:txBody>
      </p:sp>
      <p:sp>
        <p:nvSpPr>
          <p:cNvPr id="26" name="Title 5"/>
          <p:cNvSpPr txBox="1">
            <a:spLocks/>
          </p:cNvSpPr>
          <p:nvPr/>
        </p:nvSpPr>
        <p:spPr>
          <a:xfrm>
            <a:off x="4056133" y="5013784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r>
              <a:rPr lang="en-IN" kern="0" dirty="0" smtClean="0">
                <a:solidFill>
                  <a:schemeClr val="bg1">
                    <a:lumMod val="85000"/>
                  </a:schemeClr>
                </a:solidFill>
              </a:rPr>
              <a:t>Partner Ecosystem</a:t>
            </a:r>
            <a:endParaRPr lang="en-IN" kern="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7" name="Title 5"/>
          <p:cNvSpPr txBox="1">
            <a:spLocks/>
          </p:cNvSpPr>
          <p:nvPr/>
        </p:nvSpPr>
        <p:spPr>
          <a:xfrm>
            <a:off x="4833430" y="1721612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r>
              <a:rPr lang="en-US" dirty="0" smtClean="0">
                <a:solidFill>
                  <a:schemeClr val="bg1">
                    <a:lumMod val="85000"/>
                  </a:schemeClr>
                </a:solidFill>
              </a:rPr>
              <a:t>Customer Base</a:t>
            </a:r>
            <a:endParaRPr lang="en-IN" kern="0" dirty="0">
              <a:solidFill>
                <a:schemeClr val="bg1">
                  <a:lumMod val="85000"/>
                </a:schemeClr>
              </a:solidFill>
            </a:endParaRPr>
          </a:p>
        </p:txBody>
      </p:sp>
      <p:pic>
        <p:nvPicPr>
          <p:cNvPr id="3" name="Picture Placeholder 2"/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526" r="30526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28622150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35" r="31250"/>
          <a:stretch/>
        </p:blipFill>
        <p:spPr>
          <a:xfrm>
            <a:off x="3175" y="2777"/>
            <a:ext cx="4119995" cy="68829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992" t="202" r="7311" b="-202"/>
          <a:stretch/>
        </p:blipFill>
        <p:spPr>
          <a:xfrm>
            <a:off x="7647709" y="1830"/>
            <a:ext cx="4544291" cy="688481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076" r="16799"/>
          <a:stretch/>
        </p:blipFill>
        <p:spPr>
          <a:xfrm>
            <a:off x="3919333" y="0"/>
            <a:ext cx="3943350" cy="6858000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t>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© 2019-2020 </a:t>
            </a:r>
            <a:r>
              <a:rPr lang="en-IN" smtClean="0"/>
              <a:t>Sterlite Technologies Limited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 rot="16200000">
            <a:off x="2723701" y="4469514"/>
            <a:ext cx="3543751" cy="95410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800" b="1" i="0" u="none" strike="noStrike" cap="none" spc="0" normalizeH="0" baseline="0" dirty="0" smtClean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FillTx/>
                <a:cs typeface="Arial" panose="020B0604020202020204" pitchFamily="34" charset="0"/>
                <a:sym typeface="Calibri"/>
              </a:rPr>
              <a:t>Security of borders at challenging terrains</a:t>
            </a:r>
            <a:endParaRPr kumimoji="0" lang="en-US" sz="2800" b="1" i="0" u="none" strike="noStrike" cap="none" spc="0" normalizeH="0" baseline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FillTx/>
              <a:cs typeface="Arial" panose="020B0604020202020204" pitchFamily="34" charset="0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Border Security </a:t>
            </a:r>
            <a:r>
              <a:rPr lang="en-US" dirty="0">
                <a:solidFill>
                  <a:schemeClr val="bg1"/>
                </a:solidFill>
              </a:rPr>
              <a:t>C</a:t>
            </a:r>
            <a:r>
              <a:rPr lang="en-US" dirty="0" smtClean="0">
                <a:solidFill>
                  <a:schemeClr val="bg1"/>
                </a:solidFill>
              </a:rPr>
              <a:t>oncern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25145" y="1676844"/>
            <a:ext cx="3543751" cy="138499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2800" b="1" dirty="0" smtClean="0">
                <a:solidFill>
                  <a:schemeClr val="tx1">
                    <a:lumMod val="95000"/>
                    <a:lumOff val="5000"/>
                  </a:schemeClr>
                </a:solidFill>
                <a:cs typeface="Arial" panose="020B0604020202020204" pitchFamily="34" charset="0"/>
                <a:sym typeface="Calibri"/>
              </a:rPr>
              <a:t>Personnel</a:t>
            </a:r>
            <a:r>
              <a:rPr kumimoji="0" lang="en-US" sz="2800" b="1" i="0" u="none" strike="noStrike" cap="none" spc="0" normalizeH="0" baseline="0" dirty="0" smtClean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FillTx/>
                <a:cs typeface="Arial" panose="020B0604020202020204" pitchFamily="34" charset="0"/>
                <a:sym typeface="Calibri"/>
              </a:rPr>
              <a:t> requirement</a:t>
            </a:r>
            <a:r>
              <a:rPr kumimoji="0" lang="en-US" sz="2800" b="1" i="0" u="none" strike="noStrike" cap="none" spc="0" normalizeH="0" dirty="0" smtClean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FillTx/>
                <a:cs typeface="Arial" panose="020B0604020202020204" pitchFamily="34" charset="0"/>
                <a:sym typeface="Calibri"/>
              </a:rPr>
              <a:t> for 360 degree monitoring</a:t>
            </a:r>
            <a:endParaRPr kumimoji="0" lang="en-US" sz="2800" b="1" i="0" u="none" strike="noStrike" cap="none" spc="0" normalizeH="0" baseline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FillTx/>
              <a:cs typeface="Arial" panose="020B0604020202020204" pitchFamily="34" charset="0"/>
              <a:sym typeface="Calibri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83390" y="5483154"/>
            <a:ext cx="3543751" cy="95410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800" b="1" i="0" u="none" strike="noStrike" cap="none" spc="0" normalizeH="0" baseline="0" dirty="0" smtClean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FillTx/>
                <a:cs typeface="Arial" panose="020B0604020202020204" pitchFamily="34" charset="0"/>
                <a:sym typeface="Calibri"/>
              </a:rPr>
              <a:t>Being alert 24/7</a:t>
            </a:r>
          </a:p>
          <a:p>
            <a:pPr marL="0" marR="0" indent="0" algn="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2800" b="1" dirty="0" smtClean="0">
                <a:solidFill>
                  <a:schemeClr val="tx1">
                    <a:lumMod val="95000"/>
                    <a:lumOff val="5000"/>
                  </a:schemeClr>
                </a:solidFill>
                <a:cs typeface="Arial" panose="020B0604020202020204" pitchFamily="34" charset="0"/>
                <a:sym typeface="Calibri"/>
              </a:rPr>
              <a:t>In harsh areas</a:t>
            </a:r>
            <a:endParaRPr kumimoji="0" lang="en-US" sz="2800" b="1" i="0" u="none" strike="noStrike" cap="none" spc="0" normalizeH="0" baseline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FillTx/>
              <a:cs typeface="Arial" panose="020B060402020202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1967754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35" r="31250"/>
          <a:stretch/>
        </p:blipFill>
        <p:spPr>
          <a:xfrm>
            <a:off x="3175" y="2777"/>
            <a:ext cx="4119995" cy="68829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992" t="202" r="7311" b="-202"/>
          <a:stretch/>
        </p:blipFill>
        <p:spPr>
          <a:xfrm>
            <a:off x="7647709" y="1830"/>
            <a:ext cx="4544291" cy="688481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076" r="16799"/>
          <a:stretch/>
        </p:blipFill>
        <p:spPr>
          <a:xfrm>
            <a:off x="3919333" y="0"/>
            <a:ext cx="3943350" cy="6858000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t>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© 2019-2020 </a:t>
            </a:r>
            <a:r>
              <a:rPr lang="en-IN" smtClean="0"/>
              <a:t>Sterlite Technologies Limited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 rot="16200000">
            <a:off x="2723701" y="4469514"/>
            <a:ext cx="3543751" cy="95410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800" b="1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FillTx/>
                <a:cs typeface="Arial" panose="020B0604020202020204" pitchFamily="34" charset="0"/>
                <a:sym typeface="Calibri"/>
              </a:rPr>
              <a:t>Security of borders at difficult terrains</a:t>
            </a:r>
            <a:endParaRPr kumimoji="0" lang="en-US" sz="2800" b="1" i="0" u="none" strike="noStrike" cap="none" spc="0" normalizeH="0" baseline="0" dirty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  <a:uFillTx/>
              <a:cs typeface="Arial" panose="020B0604020202020204" pitchFamily="34" charset="0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order Security 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oncerns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25145" y="1676844"/>
            <a:ext cx="3543751" cy="138499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2800" b="1" dirty="0" smtClean="0">
                <a:solidFill>
                  <a:schemeClr val="bg1">
                    <a:lumMod val="85000"/>
                  </a:schemeClr>
                </a:solidFill>
                <a:cs typeface="Arial" panose="020B0604020202020204" pitchFamily="34" charset="0"/>
                <a:sym typeface="Calibri"/>
              </a:rPr>
              <a:t>Personnel</a:t>
            </a:r>
            <a:r>
              <a:rPr kumimoji="0" lang="en-US" sz="2800" b="1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FillTx/>
                <a:cs typeface="Arial" panose="020B0604020202020204" pitchFamily="34" charset="0"/>
                <a:sym typeface="Calibri"/>
              </a:rPr>
              <a:t> requirement</a:t>
            </a:r>
            <a:r>
              <a:rPr kumimoji="0" lang="en-US" sz="2800" b="1" i="0" u="none" strike="noStrike" cap="none" spc="0" normalizeH="0" dirty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FillTx/>
                <a:cs typeface="Arial" panose="020B0604020202020204" pitchFamily="34" charset="0"/>
                <a:sym typeface="Calibri"/>
              </a:rPr>
              <a:t> for 360 degree monitoring</a:t>
            </a:r>
            <a:endParaRPr kumimoji="0" lang="en-US" sz="2800" b="1" i="0" u="none" strike="noStrike" cap="none" spc="0" normalizeH="0" baseline="0" dirty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  <a:uFillTx/>
              <a:cs typeface="Arial" panose="020B0604020202020204" pitchFamily="34" charset="0"/>
              <a:sym typeface="Calibri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83390" y="5483154"/>
            <a:ext cx="3543751" cy="95410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800" b="1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FillTx/>
                <a:cs typeface="Arial" panose="020B0604020202020204" pitchFamily="34" charset="0"/>
                <a:sym typeface="Calibri"/>
              </a:rPr>
              <a:t>Being alert 24/7</a:t>
            </a:r>
          </a:p>
          <a:p>
            <a:pPr marL="0" marR="0" indent="0" algn="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2800" b="1" dirty="0" smtClean="0">
                <a:solidFill>
                  <a:schemeClr val="bg1">
                    <a:lumMod val="85000"/>
                  </a:schemeClr>
                </a:solidFill>
                <a:cs typeface="Arial" panose="020B0604020202020204" pitchFamily="34" charset="0"/>
                <a:sym typeface="Calibri"/>
              </a:rPr>
              <a:t>In harsh areas</a:t>
            </a:r>
            <a:endParaRPr kumimoji="0" lang="en-US" sz="2800" b="1" i="0" u="none" strike="noStrike" cap="none" spc="0" normalizeH="0" baseline="0" dirty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  <a:uFillTx/>
              <a:cs typeface="Arial" panose="020B0604020202020204" pitchFamily="34" charset="0"/>
              <a:sym typeface="Calibri"/>
            </a:endParaRPr>
          </a:p>
        </p:txBody>
      </p:sp>
      <p:sp>
        <p:nvSpPr>
          <p:cNvPr id="11" name="TextBox 10"/>
          <p:cNvSpPr txBox="1"/>
          <p:nvPr/>
        </p:nvSpPr>
        <p:spPr>
          <a:xfrm rot="16200000">
            <a:off x="-1978146" y="4117847"/>
            <a:ext cx="4554861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3600" b="1" i="0" u="none" strike="noStrike" cap="none" spc="0" normalizeH="0" baseline="0" dirty="0" smtClean="0">
                <a:ln>
                  <a:noFill/>
                </a:ln>
                <a:solidFill>
                  <a:srgbClr val="1B48C4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COVERAGE</a:t>
            </a:r>
            <a:r>
              <a:rPr kumimoji="0" lang="en-US" sz="3600" b="1" i="0" u="none" strike="noStrike" cap="none" spc="0" normalizeH="0" dirty="0" smtClean="0">
                <a:ln>
                  <a:noFill/>
                </a:ln>
                <a:solidFill>
                  <a:srgbClr val="1B48C4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AREA</a:t>
            </a:r>
            <a:endParaRPr kumimoji="0" lang="en-US" sz="3600" b="1" i="0" u="none" strike="noStrike" cap="none" spc="0" normalizeH="0" baseline="0" dirty="0">
              <a:ln>
                <a:noFill/>
              </a:ln>
              <a:solidFill>
                <a:srgbClr val="1B48C4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3207067"/>
              </p:ext>
            </p:extLst>
          </p:nvPr>
        </p:nvGraphicFramePr>
        <p:xfrm>
          <a:off x="584751" y="2517208"/>
          <a:ext cx="6412229" cy="3978510"/>
        </p:xfrm>
        <a:graphic>
          <a:graphicData uri="http://schemas.openxmlformats.org/drawingml/2006/table">
            <a:tbl>
              <a:tblPr>
                <a:tableStyleId>{125E5076-3810-47DD-B79F-674D7AD40C01}</a:tableStyleId>
              </a:tblPr>
              <a:tblGrid>
                <a:gridCol w="158462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31884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50875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598329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b="1" u="none" strike="noStrike" dirty="0">
                          <a:solidFill>
                            <a:srgbClr val="1B48C4"/>
                          </a:solidFill>
                          <a:effectLst/>
                        </a:rPr>
                        <a:t>Land Border Country</a:t>
                      </a:r>
                      <a:endParaRPr lang="en-GB" sz="2000" b="1" i="0" u="none" strike="noStrike" dirty="0">
                        <a:solidFill>
                          <a:srgbClr val="1B48C4"/>
                        </a:solidFill>
                        <a:effectLst/>
                        <a:latin typeface="+mn-lt"/>
                      </a:endParaRPr>
                    </a:p>
                  </a:txBody>
                  <a:tcPr marL="9526" marR="9526" marT="9525" marB="0" anchor="ctr">
                    <a:lnL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b="1" u="none" strike="noStrike" dirty="0">
                          <a:solidFill>
                            <a:srgbClr val="1B48C4"/>
                          </a:solidFill>
                          <a:effectLst/>
                        </a:rPr>
                        <a:t>Length (km)</a:t>
                      </a:r>
                      <a:endParaRPr lang="en-GB" sz="2000" b="1" i="0" u="none" strike="noStrike" dirty="0">
                        <a:solidFill>
                          <a:srgbClr val="1B48C4"/>
                        </a:solidFill>
                        <a:effectLst/>
                        <a:latin typeface="+mn-lt"/>
                      </a:endParaRPr>
                    </a:p>
                  </a:txBody>
                  <a:tcPr marL="9526" marR="9526" marT="9525" marB="0" anchor="ctr">
                    <a:lnL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b="1" u="none" strike="noStrike" dirty="0">
                          <a:solidFill>
                            <a:srgbClr val="1B48C4"/>
                          </a:solidFill>
                          <a:effectLst/>
                        </a:rPr>
                        <a:t>Force</a:t>
                      </a:r>
                      <a:endParaRPr lang="en-GB" sz="2000" b="1" i="0" u="none" strike="noStrike" dirty="0">
                        <a:solidFill>
                          <a:srgbClr val="1B48C4"/>
                        </a:solidFill>
                        <a:effectLst/>
                        <a:latin typeface="+mn-lt"/>
                      </a:endParaRPr>
                    </a:p>
                  </a:txBody>
                  <a:tcPr marL="9526" marR="9526" marT="9525" marB="0" anchor="ctr">
                    <a:lnL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90414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>
                          <a:solidFill>
                            <a:srgbClr val="1B48C4"/>
                          </a:solidFill>
                          <a:effectLst/>
                        </a:rPr>
                        <a:t> Bangladesh</a:t>
                      </a:r>
                      <a:endParaRPr lang="en-GB" sz="1600" b="0" i="0" u="none" strike="noStrike">
                        <a:solidFill>
                          <a:srgbClr val="1B48C4"/>
                        </a:solidFill>
                        <a:effectLst/>
                        <a:latin typeface="+mn-lt"/>
                      </a:endParaRPr>
                    </a:p>
                  </a:txBody>
                  <a:tcPr marL="9526" marR="9526" marT="9525" marB="0" anchor="ctr">
                    <a:lnL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 smtClean="0">
                          <a:solidFill>
                            <a:srgbClr val="1B48C4"/>
                          </a:solidFill>
                          <a:effectLst/>
                        </a:rPr>
                        <a:t>4,097</a:t>
                      </a:r>
                      <a:endParaRPr lang="en-GB" sz="1600" b="0" i="0" u="none" strike="noStrike" dirty="0">
                        <a:solidFill>
                          <a:srgbClr val="1B48C4"/>
                        </a:solidFill>
                        <a:effectLst/>
                        <a:latin typeface="+mn-lt"/>
                      </a:endParaRPr>
                    </a:p>
                  </a:txBody>
                  <a:tcPr marL="9526" marR="9526" marT="9525" marB="0" anchor="ctr">
                    <a:lnL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solidFill>
                            <a:srgbClr val="1B48C4"/>
                          </a:solidFill>
                          <a:effectLst/>
                        </a:rPr>
                        <a:t>Border Security Force</a:t>
                      </a:r>
                      <a:endParaRPr lang="en-GB" sz="1600" b="1" i="0" u="none" strike="noStrike" dirty="0">
                        <a:solidFill>
                          <a:srgbClr val="1B48C4"/>
                        </a:solidFill>
                        <a:effectLst/>
                        <a:latin typeface="+mn-lt"/>
                      </a:endParaRPr>
                    </a:p>
                  </a:txBody>
                  <a:tcPr marL="9526" marR="9526" marT="9525" marB="0" anchor="ctr">
                    <a:lnL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20870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>
                          <a:solidFill>
                            <a:srgbClr val="1B48C4"/>
                          </a:solidFill>
                          <a:effectLst/>
                        </a:rPr>
                        <a:t> China</a:t>
                      </a:r>
                      <a:endParaRPr lang="en-GB" sz="1600" b="0" i="0" u="none" strike="noStrike">
                        <a:solidFill>
                          <a:srgbClr val="1B48C4"/>
                        </a:solidFill>
                        <a:effectLst/>
                        <a:latin typeface="+mn-lt"/>
                      </a:endParaRPr>
                    </a:p>
                  </a:txBody>
                  <a:tcPr marL="9526" marR="9526" marT="9525" marB="0" anchor="ctr">
                    <a:lnL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 smtClean="0">
                          <a:solidFill>
                            <a:srgbClr val="1B48C4"/>
                          </a:solidFill>
                          <a:effectLst/>
                        </a:rPr>
                        <a:t>3,380</a:t>
                      </a:r>
                      <a:endParaRPr lang="en-GB" sz="1600" b="0" i="0" u="none" strike="noStrike" dirty="0">
                        <a:solidFill>
                          <a:srgbClr val="1B48C4"/>
                        </a:solidFill>
                        <a:effectLst/>
                        <a:latin typeface="+mn-lt"/>
                      </a:endParaRPr>
                    </a:p>
                  </a:txBody>
                  <a:tcPr marL="9526" marR="9526" marT="9525" marB="0" anchor="ctr">
                    <a:lnL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solidFill>
                            <a:srgbClr val="1B48C4"/>
                          </a:solidFill>
                          <a:effectLst/>
                        </a:rPr>
                        <a:t>Indo-Tibetan Border Police and Special Frontier Force</a:t>
                      </a:r>
                      <a:endParaRPr lang="en-GB" sz="1600" b="0" i="0" u="none" strike="noStrike" dirty="0">
                        <a:solidFill>
                          <a:srgbClr val="1B48C4"/>
                        </a:solidFill>
                        <a:effectLst/>
                        <a:latin typeface="+mn-lt"/>
                      </a:endParaRPr>
                    </a:p>
                  </a:txBody>
                  <a:tcPr marL="9526" marR="9526" marT="9525" marB="0" anchor="ctr">
                    <a:lnL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35914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>
                          <a:solidFill>
                            <a:srgbClr val="1B48C4"/>
                          </a:solidFill>
                          <a:effectLst/>
                        </a:rPr>
                        <a:t> Pakistan</a:t>
                      </a:r>
                      <a:endParaRPr lang="en-GB" sz="1600" b="0" i="0" u="none" strike="noStrike">
                        <a:solidFill>
                          <a:srgbClr val="1B48C4"/>
                        </a:solidFill>
                        <a:effectLst/>
                        <a:latin typeface="+mn-lt"/>
                      </a:endParaRPr>
                    </a:p>
                  </a:txBody>
                  <a:tcPr marL="9526" marR="9526" marT="9525" marB="0" anchor="ctr">
                    <a:lnL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 smtClean="0">
                          <a:solidFill>
                            <a:srgbClr val="1B48C4"/>
                          </a:solidFill>
                          <a:effectLst/>
                        </a:rPr>
                        <a:t>3,323</a:t>
                      </a:r>
                      <a:endParaRPr lang="en-GB" sz="1600" b="0" i="0" u="none" strike="noStrike" dirty="0">
                        <a:solidFill>
                          <a:srgbClr val="1B48C4"/>
                        </a:solidFill>
                        <a:effectLst/>
                        <a:latin typeface="+mn-lt"/>
                      </a:endParaRPr>
                    </a:p>
                  </a:txBody>
                  <a:tcPr marL="9526" marR="9526" marT="9525" marB="0" anchor="ctr">
                    <a:lnL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solidFill>
                            <a:srgbClr val="1B48C4"/>
                          </a:solidFill>
                          <a:effectLst/>
                        </a:rPr>
                        <a:t>Border Security Force</a:t>
                      </a:r>
                      <a:endParaRPr lang="en-GB" sz="1600" b="1" i="0" u="none" strike="noStrike" dirty="0">
                        <a:solidFill>
                          <a:srgbClr val="1B48C4"/>
                        </a:solidFill>
                        <a:effectLst/>
                        <a:latin typeface="+mn-lt"/>
                      </a:endParaRPr>
                    </a:p>
                  </a:txBody>
                  <a:tcPr marL="9526" marR="9526" marT="9525" marB="0" anchor="ctr">
                    <a:lnL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74147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>
                          <a:solidFill>
                            <a:srgbClr val="1B48C4"/>
                          </a:solidFill>
                          <a:effectLst/>
                        </a:rPr>
                        <a:t> Nepal</a:t>
                      </a:r>
                      <a:endParaRPr lang="en-GB" sz="1600" b="0" i="0" u="none" strike="noStrike">
                        <a:solidFill>
                          <a:srgbClr val="1B48C4"/>
                        </a:solidFill>
                        <a:effectLst/>
                        <a:latin typeface="+mn-lt"/>
                      </a:endParaRPr>
                    </a:p>
                  </a:txBody>
                  <a:tcPr marL="9526" marR="9526" marT="9525" marB="0" anchor="ctr">
                    <a:lnL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 smtClean="0">
                          <a:solidFill>
                            <a:srgbClr val="1B48C4"/>
                          </a:solidFill>
                          <a:effectLst/>
                        </a:rPr>
                        <a:t>1,758</a:t>
                      </a:r>
                      <a:endParaRPr lang="en-GB" sz="1600" b="0" i="0" u="none" strike="noStrike" dirty="0">
                        <a:solidFill>
                          <a:srgbClr val="1B48C4"/>
                        </a:solidFill>
                        <a:effectLst/>
                        <a:latin typeface="+mn-lt"/>
                      </a:endParaRPr>
                    </a:p>
                  </a:txBody>
                  <a:tcPr marL="9526" marR="9526" marT="9525" marB="0" anchor="ctr">
                    <a:lnL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>
                          <a:solidFill>
                            <a:srgbClr val="1B48C4"/>
                          </a:solidFill>
                          <a:effectLst/>
                        </a:rPr>
                        <a:t>Sashastra Seema Bal</a:t>
                      </a:r>
                      <a:endParaRPr lang="en-GB" sz="1600" b="0" i="0" u="none" strike="noStrike">
                        <a:solidFill>
                          <a:srgbClr val="1B48C4"/>
                        </a:solidFill>
                        <a:effectLst/>
                        <a:latin typeface="+mn-lt"/>
                      </a:endParaRPr>
                    </a:p>
                  </a:txBody>
                  <a:tcPr marL="9526" marR="9526" marT="9525" marB="0" anchor="ctr">
                    <a:lnL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63893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solidFill>
                            <a:srgbClr val="1B48C4"/>
                          </a:solidFill>
                          <a:effectLst/>
                        </a:rPr>
                        <a:t> Myanmar</a:t>
                      </a:r>
                      <a:endParaRPr lang="en-GB" sz="1600" b="0" i="0" u="none" strike="noStrike" dirty="0">
                        <a:solidFill>
                          <a:srgbClr val="1B48C4"/>
                        </a:solidFill>
                        <a:effectLst/>
                        <a:latin typeface="+mn-lt"/>
                      </a:endParaRPr>
                    </a:p>
                  </a:txBody>
                  <a:tcPr marL="9526" marR="9526" marT="9525" marB="0" anchor="ctr">
                    <a:lnL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 smtClean="0">
                          <a:solidFill>
                            <a:srgbClr val="1B48C4"/>
                          </a:solidFill>
                          <a:effectLst/>
                        </a:rPr>
                        <a:t>1,643</a:t>
                      </a:r>
                      <a:endParaRPr lang="en-GB" sz="1600" b="0" i="0" u="none" strike="noStrike" dirty="0">
                        <a:solidFill>
                          <a:srgbClr val="1B48C4"/>
                        </a:solidFill>
                        <a:effectLst/>
                        <a:latin typeface="+mn-lt"/>
                      </a:endParaRPr>
                    </a:p>
                  </a:txBody>
                  <a:tcPr marL="9526" marR="9526" marT="9525" marB="0" anchor="ctr">
                    <a:lnL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solidFill>
                            <a:srgbClr val="1B48C4"/>
                          </a:solidFill>
                          <a:effectLst/>
                        </a:rPr>
                        <a:t>Assam Rifles and Indian Army</a:t>
                      </a:r>
                      <a:endParaRPr lang="en-GB" sz="1600" b="0" i="0" u="none" strike="noStrike" dirty="0">
                        <a:solidFill>
                          <a:srgbClr val="1B48C4"/>
                        </a:solidFill>
                        <a:effectLst/>
                        <a:latin typeface="+mn-lt"/>
                      </a:endParaRPr>
                    </a:p>
                  </a:txBody>
                  <a:tcPr marL="9526" marR="9526" marT="9525" marB="0" anchor="ctr">
                    <a:lnL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74147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solidFill>
                            <a:srgbClr val="1B48C4"/>
                          </a:solidFill>
                          <a:effectLst/>
                        </a:rPr>
                        <a:t> Bhutan</a:t>
                      </a:r>
                      <a:endParaRPr lang="en-GB" sz="1600" b="0" i="0" u="none" strike="noStrike" dirty="0">
                        <a:solidFill>
                          <a:srgbClr val="1B48C4"/>
                        </a:solidFill>
                        <a:effectLst/>
                        <a:latin typeface="+mn-lt"/>
                      </a:endParaRPr>
                    </a:p>
                  </a:txBody>
                  <a:tcPr marL="9526" marR="9526" marT="9525" marB="0" anchor="ctr">
                    <a:lnL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 smtClean="0">
                          <a:solidFill>
                            <a:srgbClr val="1B48C4"/>
                          </a:solidFill>
                          <a:effectLst/>
                        </a:rPr>
                        <a:t>600</a:t>
                      </a:r>
                      <a:endParaRPr lang="en-GB" sz="1600" b="0" i="0" u="none" strike="noStrike" dirty="0">
                        <a:solidFill>
                          <a:srgbClr val="1B48C4"/>
                        </a:solidFill>
                        <a:effectLst/>
                        <a:latin typeface="+mn-lt"/>
                      </a:endParaRPr>
                    </a:p>
                  </a:txBody>
                  <a:tcPr marL="9526" marR="9526" marT="9525" marB="0" anchor="ctr">
                    <a:lnL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 err="1">
                          <a:solidFill>
                            <a:srgbClr val="1B48C4"/>
                          </a:solidFill>
                          <a:effectLst/>
                        </a:rPr>
                        <a:t>Sashastra</a:t>
                      </a:r>
                      <a:r>
                        <a:rPr lang="en-GB" sz="1600" u="none" strike="noStrike" dirty="0">
                          <a:solidFill>
                            <a:srgbClr val="1B48C4"/>
                          </a:solidFill>
                          <a:effectLst/>
                        </a:rPr>
                        <a:t> Seema Bal</a:t>
                      </a:r>
                      <a:endParaRPr lang="en-GB" sz="1600" b="0" i="0" u="none" strike="noStrike" dirty="0">
                        <a:solidFill>
                          <a:srgbClr val="1B48C4"/>
                        </a:solidFill>
                        <a:effectLst/>
                        <a:latin typeface="+mn-lt"/>
                      </a:endParaRPr>
                    </a:p>
                  </a:txBody>
                  <a:tcPr marL="9526" marR="9526" marT="9525" marB="0" anchor="ctr">
                    <a:lnL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9423317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35" r="31250"/>
          <a:stretch/>
        </p:blipFill>
        <p:spPr>
          <a:xfrm>
            <a:off x="3175" y="2777"/>
            <a:ext cx="4119995" cy="68829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992" t="202" r="7311" b="-202"/>
          <a:stretch/>
        </p:blipFill>
        <p:spPr>
          <a:xfrm>
            <a:off x="7647709" y="1830"/>
            <a:ext cx="4544291" cy="688481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076" r="16799"/>
          <a:stretch/>
        </p:blipFill>
        <p:spPr>
          <a:xfrm>
            <a:off x="3919333" y="0"/>
            <a:ext cx="3943350" cy="6858000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t>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© 2019-2020 </a:t>
            </a:r>
            <a:r>
              <a:rPr lang="en-IN" smtClean="0"/>
              <a:t>Sterlite Technologies Limited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 rot="16200000">
            <a:off x="2723701" y="4469514"/>
            <a:ext cx="3543751" cy="95410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800" b="1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FillTx/>
                <a:cs typeface="Arial" panose="020B0604020202020204" pitchFamily="34" charset="0"/>
                <a:sym typeface="Calibri"/>
              </a:rPr>
              <a:t>Security of borders at difficult terrains</a:t>
            </a:r>
            <a:endParaRPr kumimoji="0" lang="en-US" sz="2800" b="1" i="0" u="none" strike="noStrike" cap="none" spc="0" normalizeH="0" baseline="0" dirty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  <a:uFillTx/>
              <a:cs typeface="Arial" panose="020B0604020202020204" pitchFamily="34" charset="0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order Security 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oncerns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25145" y="1676844"/>
            <a:ext cx="3543751" cy="138499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2800" b="1" dirty="0" smtClean="0">
                <a:solidFill>
                  <a:schemeClr val="bg1">
                    <a:lumMod val="85000"/>
                  </a:schemeClr>
                </a:solidFill>
                <a:cs typeface="Arial" panose="020B0604020202020204" pitchFamily="34" charset="0"/>
                <a:sym typeface="Calibri"/>
              </a:rPr>
              <a:t>Personnel</a:t>
            </a:r>
            <a:r>
              <a:rPr kumimoji="0" lang="en-US" sz="2800" b="1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FillTx/>
                <a:cs typeface="Arial" panose="020B0604020202020204" pitchFamily="34" charset="0"/>
                <a:sym typeface="Calibri"/>
              </a:rPr>
              <a:t> requirement</a:t>
            </a:r>
            <a:r>
              <a:rPr kumimoji="0" lang="en-US" sz="2800" b="1" i="0" u="none" strike="noStrike" cap="none" spc="0" normalizeH="0" dirty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FillTx/>
                <a:cs typeface="Arial" panose="020B0604020202020204" pitchFamily="34" charset="0"/>
                <a:sym typeface="Calibri"/>
              </a:rPr>
              <a:t> for 360 degree monitoring</a:t>
            </a:r>
            <a:endParaRPr kumimoji="0" lang="en-US" sz="2800" b="1" i="0" u="none" strike="noStrike" cap="none" spc="0" normalizeH="0" baseline="0" dirty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  <a:uFillTx/>
              <a:cs typeface="Arial" panose="020B0604020202020204" pitchFamily="34" charset="0"/>
              <a:sym typeface="Calibri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83390" y="5483154"/>
            <a:ext cx="3543751" cy="95410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800" b="1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FillTx/>
                <a:cs typeface="Arial" panose="020B0604020202020204" pitchFamily="34" charset="0"/>
                <a:sym typeface="Calibri"/>
              </a:rPr>
              <a:t>Being alert 24/7</a:t>
            </a:r>
          </a:p>
          <a:p>
            <a:pPr marL="0" marR="0" indent="0" algn="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2800" b="1" dirty="0" smtClean="0">
                <a:solidFill>
                  <a:schemeClr val="bg1">
                    <a:lumMod val="85000"/>
                  </a:schemeClr>
                </a:solidFill>
                <a:cs typeface="Arial" panose="020B0604020202020204" pitchFamily="34" charset="0"/>
                <a:sym typeface="Calibri"/>
              </a:rPr>
              <a:t>In harsh areas</a:t>
            </a:r>
            <a:endParaRPr kumimoji="0" lang="en-US" sz="2800" b="1" i="0" u="none" strike="noStrike" cap="none" spc="0" normalizeH="0" baseline="0" dirty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  <a:uFillTx/>
              <a:cs typeface="Arial" panose="020B0604020202020204" pitchFamily="34" charset="0"/>
              <a:sym typeface="Calibri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720444" y="2567733"/>
            <a:ext cx="4862946" cy="12003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>
            <a:defPPr>
              <a:defRPr lang="en-US"/>
            </a:defPPr>
            <a:lvl1pPr marR="0" indent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1" i="0" u="none" strike="noStrike" cap="none" spc="0" normalizeH="0" baseline="0">
                <a:ln>
                  <a:noFill/>
                </a:ln>
                <a:solidFill>
                  <a:srgbClr val="1B48C4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sym typeface="Calibri"/>
              </a:rPr>
              <a:t>HUMAN CASUALITIES</a:t>
            </a: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3219361"/>
              </p:ext>
            </p:extLst>
          </p:nvPr>
        </p:nvGraphicFramePr>
        <p:xfrm>
          <a:off x="3843360" y="3734771"/>
          <a:ext cx="8080809" cy="2983671"/>
        </p:xfrm>
        <a:graphic>
          <a:graphicData uri="http://schemas.openxmlformats.org/drawingml/2006/table">
            <a:tbl>
              <a:tblPr>
                <a:tableStyleId>{125E5076-3810-47DD-B79F-674D7AD40C01}</a:tableStyleId>
              </a:tblPr>
              <a:tblGrid>
                <a:gridCol w="216951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86789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57857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6482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1106433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b="1" u="none" strike="noStrike" dirty="0">
                          <a:solidFill>
                            <a:srgbClr val="1B48C4"/>
                          </a:solidFill>
                          <a:effectLst/>
                        </a:rPr>
                        <a:t>Year</a:t>
                      </a:r>
                      <a:endParaRPr lang="en-IN" sz="2000" b="1" i="0" u="none" strike="noStrike" dirty="0">
                        <a:solidFill>
                          <a:srgbClr val="1B48C4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u="none" strike="noStrike" dirty="0">
                          <a:solidFill>
                            <a:srgbClr val="1B48C4"/>
                          </a:solidFill>
                          <a:effectLst/>
                        </a:rPr>
                        <a:t>Number of ceasefire violations/cross border firings</a:t>
                      </a:r>
                      <a:endParaRPr lang="en-US" sz="2000" b="1" i="0" u="none" strike="noStrike" dirty="0">
                        <a:solidFill>
                          <a:srgbClr val="1B48C4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50196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2000" b="1" u="none" strike="noStrike" dirty="0">
                          <a:solidFill>
                            <a:srgbClr val="1B48C4"/>
                          </a:solidFill>
                          <a:effectLst/>
                        </a:rPr>
                        <a:t>Casualties of BSF Personnel</a:t>
                      </a:r>
                      <a:endParaRPr lang="en-IN" sz="2000" b="1" i="0" u="none" strike="noStrike" dirty="0">
                        <a:solidFill>
                          <a:srgbClr val="1B48C4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50196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8292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u="none" strike="noStrike">
                          <a:solidFill>
                            <a:srgbClr val="1B48C4"/>
                          </a:solidFill>
                          <a:effectLst/>
                        </a:rPr>
                        <a:t> </a:t>
                      </a:r>
                      <a:endParaRPr lang="en-IN" sz="1600" b="0" i="0" u="none" strike="noStrike">
                        <a:solidFill>
                          <a:srgbClr val="1B48C4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u="none" strike="noStrike">
                          <a:solidFill>
                            <a:srgbClr val="1B48C4"/>
                          </a:solidFill>
                          <a:effectLst/>
                        </a:rPr>
                        <a:t> </a:t>
                      </a:r>
                      <a:endParaRPr lang="en-IN" sz="1600" b="0" i="0" u="none" strike="noStrike">
                        <a:solidFill>
                          <a:srgbClr val="1B48C4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u="none" strike="noStrike">
                          <a:solidFill>
                            <a:srgbClr val="1B48C4"/>
                          </a:solidFill>
                          <a:effectLst/>
                        </a:rPr>
                        <a:t>Martyred</a:t>
                      </a:r>
                      <a:endParaRPr lang="en-IN" sz="1600" b="1" i="0" u="none" strike="noStrike">
                        <a:solidFill>
                          <a:srgbClr val="1B48C4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u="none" strike="noStrike">
                          <a:solidFill>
                            <a:srgbClr val="1B48C4"/>
                          </a:solidFill>
                          <a:effectLst/>
                        </a:rPr>
                        <a:t>Injured</a:t>
                      </a:r>
                      <a:endParaRPr lang="en-IN" sz="1600" b="1" i="0" u="none" strike="noStrike">
                        <a:solidFill>
                          <a:srgbClr val="1B48C4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5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8292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u="none" strike="noStrike">
                          <a:solidFill>
                            <a:srgbClr val="1B48C4"/>
                          </a:solidFill>
                          <a:effectLst/>
                        </a:rPr>
                        <a:t>2017</a:t>
                      </a:r>
                      <a:endParaRPr lang="en-IN" sz="1600" b="0" i="0" u="none" strike="noStrike">
                        <a:solidFill>
                          <a:srgbClr val="1B48C4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u="none" strike="noStrike">
                          <a:solidFill>
                            <a:srgbClr val="1B48C4"/>
                          </a:solidFill>
                          <a:effectLst/>
                        </a:rPr>
                        <a:t>971</a:t>
                      </a:r>
                      <a:endParaRPr lang="en-IN" sz="1600" b="0" i="0" u="none" strike="noStrike">
                        <a:solidFill>
                          <a:srgbClr val="1B48C4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u="none" strike="noStrike">
                          <a:solidFill>
                            <a:srgbClr val="1B48C4"/>
                          </a:solidFill>
                          <a:effectLst/>
                        </a:rPr>
                        <a:t>4</a:t>
                      </a:r>
                      <a:endParaRPr lang="en-IN" sz="1600" b="0" i="0" u="none" strike="noStrike">
                        <a:solidFill>
                          <a:srgbClr val="1B48C4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u="none" strike="noStrike">
                          <a:solidFill>
                            <a:srgbClr val="1B48C4"/>
                          </a:solidFill>
                          <a:effectLst/>
                        </a:rPr>
                        <a:t>14</a:t>
                      </a:r>
                      <a:endParaRPr lang="en-IN" sz="1600" b="0" i="0" u="none" strike="noStrike">
                        <a:solidFill>
                          <a:srgbClr val="1B48C4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5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8292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u="none" strike="noStrike">
                          <a:solidFill>
                            <a:srgbClr val="1B48C4"/>
                          </a:solidFill>
                          <a:effectLst/>
                        </a:rPr>
                        <a:t>2018</a:t>
                      </a:r>
                      <a:endParaRPr lang="en-IN" sz="1600" b="0" i="0" u="none" strike="noStrike">
                        <a:solidFill>
                          <a:srgbClr val="1B48C4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u="none" strike="noStrike">
                          <a:solidFill>
                            <a:srgbClr val="1B48C4"/>
                          </a:solidFill>
                          <a:effectLst/>
                        </a:rPr>
                        <a:t>2140</a:t>
                      </a:r>
                      <a:endParaRPr lang="en-IN" sz="1600" b="0" i="0" u="none" strike="noStrike">
                        <a:solidFill>
                          <a:srgbClr val="1B48C4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u="none" strike="noStrike">
                          <a:solidFill>
                            <a:srgbClr val="1B48C4"/>
                          </a:solidFill>
                          <a:effectLst/>
                        </a:rPr>
                        <a:t>14</a:t>
                      </a:r>
                      <a:endParaRPr lang="en-IN" sz="1600" b="0" i="0" u="none" strike="noStrike">
                        <a:solidFill>
                          <a:srgbClr val="1B48C4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u="none" strike="noStrike">
                          <a:solidFill>
                            <a:srgbClr val="1B48C4"/>
                          </a:solidFill>
                          <a:effectLst/>
                        </a:rPr>
                        <a:t>53</a:t>
                      </a:r>
                      <a:endParaRPr lang="en-IN" sz="1600" b="0" i="0" u="none" strike="noStrike">
                        <a:solidFill>
                          <a:srgbClr val="1B48C4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5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742362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u="none" strike="noStrike" dirty="0">
                          <a:solidFill>
                            <a:srgbClr val="1B48C4"/>
                          </a:solidFill>
                          <a:effectLst/>
                        </a:rPr>
                        <a:t>2019 </a:t>
                      </a:r>
                      <a:r>
                        <a:rPr lang="en-IN" sz="1600" u="none" strike="noStrike" dirty="0" smtClean="0">
                          <a:solidFill>
                            <a:srgbClr val="1B48C4"/>
                          </a:solidFill>
                          <a:effectLst/>
                        </a:rPr>
                        <a:t>till 31st </a:t>
                      </a:r>
                      <a:r>
                        <a:rPr lang="en-IN" sz="1600" u="none" strike="noStrike" dirty="0">
                          <a:solidFill>
                            <a:srgbClr val="1B48C4"/>
                          </a:solidFill>
                          <a:effectLst/>
                        </a:rPr>
                        <a:t>Jan</a:t>
                      </a:r>
                      <a:endParaRPr lang="en-IN" sz="1600" b="0" i="0" u="none" strike="noStrike" dirty="0">
                        <a:solidFill>
                          <a:srgbClr val="1B48C4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u="none" strike="noStrike">
                          <a:solidFill>
                            <a:srgbClr val="1B48C4"/>
                          </a:solidFill>
                          <a:effectLst/>
                        </a:rPr>
                        <a:t>216</a:t>
                      </a:r>
                      <a:endParaRPr lang="en-IN" sz="1600" b="0" i="0" u="none" strike="noStrike">
                        <a:solidFill>
                          <a:srgbClr val="1B48C4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u="none" strike="noStrike">
                          <a:solidFill>
                            <a:srgbClr val="1B48C4"/>
                          </a:solidFill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1B48C4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u="none" strike="noStrike" dirty="0">
                          <a:solidFill>
                            <a:srgbClr val="1B48C4"/>
                          </a:solidFill>
                          <a:effectLst/>
                        </a:rPr>
                        <a:t>2</a:t>
                      </a:r>
                      <a:endParaRPr lang="en-IN" sz="1600" b="0" i="0" u="none" strike="noStrike" dirty="0">
                        <a:solidFill>
                          <a:srgbClr val="1B48C4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B4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5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8352879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© 2019-2020 </a:t>
            </a:r>
            <a:r>
              <a:rPr lang="en-IN" smtClean="0"/>
              <a:t>Sterlite Technologies Limited</a:t>
            </a:r>
            <a:endParaRPr lang="en-US" dirty="0"/>
          </a:p>
        </p:txBody>
      </p:sp>
      <p:pic>
        <p:nvPicPr>
          <p:cNvPr id="302082" name="Picture 2" descr="Image result for integrated border security system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1362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2084" name="Picture 4" descr="Image result for integrated perimeter security system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50"/>
          <a:stretch/>
        </p:blipFill>
        <p:spPr bwMode="auto">
          <a:xfrm>
            <a:off x="6082144" y="-27694"/>
            <a:ext cx="6109855" cy="6885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 txBox="1">
            <a:spLocks/>
          </p:cNvSpPr>
          <p:nvPr/>
        </p:nvSpPr>
        <p:spPr>
          <a:xfrm>
            <a:off x="385192" y="125608"/>
            <a:ext cx="9161579" cy="800554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r>
              <a:rPr lang="en-US" kern="0" dirty="0" smtClean="0">
                <a:solidFill>
                  <a:srgbClr val="284DBB"/>
                </a:solidFill>
              </a:rPr>
              <a:t>STL Security </a:t>
            </a:r>
          </a:p>
          <a:p>
            <a:r>
              <a:rPr lang="en-US" kern="0" dirty="0" smtClean="0">
                <a:solidFill>
                  <a:srgbClr val="284DBB"/>
                </a:solidFill>
              </a:rPr>
              <a:t>Solutions</a:t>
            </a:r>
            <a:endParaRPr lang="en-US" kern="0" dirty="0">
              <a:solidFill>
                <a:srgbClr val="284DBB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148269" y="3653908"/>
            <a:ext cx="4558146" cy="1464228"/>
          </a:xfrm>
          <a:prstGeom prst="roundRect">
            <a:avLst/>
          </a:prstGeom>
          <a:solidFill>
            <a:srgbClr val="FFFFFF">
              <a:alpha val="50196"/>
            </a:srgb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4000" b="0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Integrated</a:t>
            </a:r>
            <a:r>
              <a:rPr kumimoji="0" lang="en-US" sz="4000" b="0" i="0" u="none" strike="noStrike" cap="none" spc="0" normalizeH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 Border Security System</a:t>
            </a:r>
            <a:endParaRPr kumimoji="0" lang="en-US" sz="4000" b="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444832" y="5255951"/>
            <a:ext cx="4558146" cy="1464228"/>
          </a:xfrm>
          <a:prstGeom prst="roundRect">
            <a:avLst/>
          </a:prstGeom>
          <a:solidFill>
            <a:srgbClr val="FFFFFF">
              <a:alpha val="50196"/>
            </a:srgb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>
            <a:defPPr>
              <a:defRPr lang="en-US"/>
            </a:defPPr>
            <a:lvl1pPr marR="0" indent="0" algn="ctr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</a:defRPr>
            </a:lvl1pPr>
          </a:lstStyle>
          <a:p>
            <a:r>
              <a:rPr lang="en-US" dirty="0">
                <a:sym typeface="Calibri"/>
              </a:rPr>
              <a:t>Integrated Perimeter Security System</a:t>
            </a:r>
          </a:p>
        </p:txBody>
      </p:sp>
    </p:spTree>
    <p:extLst>
      <p:ext uri="{BB962C8B-B14F-4D97-AF65-F5344CB8AC3E}">
        <p14:creationId xmlns:p14="http://schemas.microsoft.com/office/powerpoint/2010/main" val="82934504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/>
        </p:nvGrpSpPr>
        <p:grpSpPr>
          <a:xfrm>
            <a:off x="-39132" y="1080640"/>
            <a:ext cx="12231133" cy="5225639"/>
            <a:chOff x="-9105" y="1276350"/>
            <a:chExt cx="12201105" cy="4970936"/>
          </a:xfrm>
        </p:grpSpPr>
        <p:pic>
          <p:nvPicPr>
            <p:cNvPr id="15" name="Picture 2" descr="F:\Working Directory\Pooja Ghosh\Official\PIDS Market Analysis\Architecture\Basics_6.jp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8421" y="1276350"/>
              <a:ext cx="11733579" cy="49008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6" name="Straight Connector 15"/>
            <p:cNvCxnSpPr/>
            <p:nvPr/>
          </p:nvCxnSpPr>
          <p:spPr>
            <a:xfrm>
              <a:off x="2987785" y="4843476"/>
              <a:ext cx="0" cy="1244865"/>
            </a:xfrm>
            <a:prstGeom prst="line">
              <a:avLst/>
            </a:prstGeom>
            <a:noFill/>
            <a:ln w="28575" cap="flat">
              <a:solidFill>
                <a:schemeClr val="accent2">
                  <a:lumMod val="50000"/>
                </a:schemeClr>
              </a:solidFill>
              <a:prstDash val="sysDot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7" name="Straight Connector 16"/>
            <p:cNvCxnSpPr/>
            <p:nvPr/>
          </p:nvCxnSpPr>
          <p:spPr>
            <a:xfrm>
              <a:off x="6695065" y="4850893"/>
              <a:ext cx="0" cy="1187684"/>
            </a:xfrm>
            <a:prstGeom prst="line">
              <a:avLst/>
            </a:prstGeom>
            <a:noFill/>
            <a:ln w="28575" cap="flat">
              <a:solidFill>
                <a:schemeClr val="accent2">
                  <a:lumMod val="50000"/>
                </a:schemeClr>
              </a:solidFill>
              <a:prstDash val="sysDot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9349628" y="4692364"/>
              <a:ext cx="0" cy="1395977"/>
            </a:xfrm>
            <a:prstGeom prst="line">
              <a:avLst/>
            </a:prstGeom>
            <a:noFill/>
            <a:ln w="28575" cap="flat">
              <a:solidFill>
                <a:schemeClr val="accent2">
                  <a:lumMod val="50000"/>
                </a:schemeClr>
              </a:solidFill>
              <a:prstDash val="sysDot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20" name="TextBox 19"/>
            <p:cNvSpPr txBox="1"/>
            <p:nvPr/>
          </p:nvSpPr>
          <p:spPr>
            <a:xfrm>
              <a:off x="3651536" y="5859963"/>
              <a:ext cx="2122770" cy="26349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200" b="0" i="0" u="none" strike="noStrike" cap="none" spc="0" normalizeH="0" baseline="0" dirty="0" smtClean="0">
                  <a:ln>
                    <a:noFill/>
                  </a:ln>
                  <a:solidFill>
                    <a:schemeClr val="accent4">
                      <a:lumMod val="50000"/>
                    </a:schemeClr>
                  </a:solidFill>
                  <a:effectLst/>
                  <a:uFillTx/>
                  <a:latin typeface="+mn-lt"/>
                  <a:ea typeface="+mn-ea"/>
                  <a:cs typeface="+mn-cs"/>
                  <a:sym typeface="Calibri"/>
                </a:rPr>
                <a:t>Case 2: Sea at border:</a:t>
              </a:r>
              <a:r>
                <a:rPr kumimoji="0" lang="en-US" sz="1200" b="0" i="0" u="none" strike="noStrike" cap="none" spc="0" normalizeH="0" dirty="0" smtClean="0">
                  <a:ln>
                    <a:noFill/>
                  </a:ln>
                  <a:solidFill>
                    <a:schemeClr val="accent4">
                      <a:lumMod val="50000"/>
                    </a:schemeClr>
                  </a:solidFill>
                  <a:effectLst/>
                  <a:uFillTx/>
                  <a:latin typeface="+mn-lt"/>
                  <a:ea typeface="+mn-ea"/>
                  <a:cs typeface="+mn-cs"/>
                  <a:sym typeface="Calibri"/>
                </a:rPr>
                <a:t> SONAR</a:t>
              </a:r>
              <a:endParaRPr kumimoji="0" lang="en-US" sz="1200" b="0" i="0" u="none" strike="noStrike" cap="none" spc="0" normalizeH="0" baseline="0" dirty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588702" y="5794532"/>
              <a:ext cx="2399084" cy="43916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200" b="0" i="0" u="none" strike="noStrike" cap="none" spc="0" normalizeH="0" baseline="0" dirty="0" smtClean="0">
                  <a:ln>
                    <a:noFill/>
                  </a:ln>
                  <a:solidFill>
                    <a:schemeClr val="accent4">
                      <a:lumMod val="50000"/>
                    </a:schemeClr>
                  </a:solidFill>
                  <a:effectLst/>
                  <a:uFillTx/>
                  <a:latin typeface="+mn-lt"/>
                  <a:ea typeface="+mn-ea"/>
                  <a:cs typeface="+mn-cs"/>
                  <a:sym typeface="Calibri"/>
                </a:rPr>
                <a:t>Case 1: OFC Deployable</a:t>
              </a:r>
              <a:r>
                <a:rPr kumimoji="0" lang="en-US" sz="1200" b="0" i="0" u="none" strike="noStrike" cap="none" spc="0" normalizeH="0" dirty="0" smtClean="0">
                  <a:ln>
                    <a:noFill/>
                  </a:ln>
                  <a:solidFill>
                    <a:schemeClr val="accent4">
                      <a:lumMod val="50000"/>
                    </a:schemeClr>
                  </a:solidFill>
                  <a:effectLst/>
                  <a:uFillTx/>
                  <a:latin typeface="+mn-lt"/>
                  <a:ea typeface="+mn-ea"/>
                  <a:cs typeface="+mn-cs"/>
                  <a:sym typeface="Calibri"/>
                </a:rPr>
                <a:t> ground (preferably non-concrete): UVDS</a:t>
              </a:r>
              <a:endParaRPr kumimoji="0" lang="en-US" sz="1200" b="0" i="0" u="none" strike="noStrike" cap="none" spc="0" normalizeH="0" baseline="0" dirty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6748584" y="5808125"/>
              <a:ext cx="2532066" cy="43916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accent4">
                      <a:lumMod val="50000"/>
                    </a:schemeClr>
                  </a:solidFill>
                </a:rPr>
                <a:t>Case </a:t>
              </a:r>
              <a:r>
                <a:rPr lang="en-US" sz="1200" dirty="0" smtClean="0">
                  <a:solidFill>
                    <a:schemeClr val="accent4">
                      <a:lumMod val="50000"/>
                    </a:schemeClr>
                  </a:solidFill>
                </a:rPr>
                <a:t>3: </a:t>
              </a:r>
              <a:r>
                <a:rPr lang="en-US" sz="1200" dirty="0">
                  <a:solidFill>
                    <a:schemeClr val="accent4">
                      <a:lumMod val="50000"/>
                    </a:schemeClr>
                  </a:solidFill>
                </a:rPr>
                <a:t>Absence of Secure Boundary: Unattended Ground Sensor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 flipV="1">
              <a:off x="-9105" y="2918761"/>
              <a:ext cx="521934" cy="197043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vert" wrap="square" lIns="45719" tIns="45719" rIns="45719" bIns="45719" numCol="1" spcCol="38100" rtlCol="0" anchor="t">
              <a:spAutoFit/>
            </a:bodyPr>
            <a:lstStyle/>
            <a:p>
              <a:pPr marL="0" marR="0" indent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spc="0" normalizeH="0" baseline="0" dirty="0" smtClean="0">
                  <a:ln>
                    <a:noFill/>
                  </a:ln>
                  <a:solidFill>
                    <a:schemeClr val="accent1">
                      <a:lumMod val="50000"/>
                    </a:schemeClr>
                  </a:solidFill>
                  <a:effectLst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Above</a:t>
              </a:r>
              <a:r>
                <a:rPr kumimoji="0" lang="en-US" sz="1400" b="0" i="0" u="none" strike="noStrike" cap="none" spc="0" normalizeH="0" dirty="0" smtClean="0">
                  <a:ln>
                    <a:noFill/>
                  </a:ln>
                  <a:solidFill>
                    <a:schemeClr val="accent1">
                      <a:lumMod val="50000"/>
                    </a:schemeClr>
                  </a:solidFill>
                  <a:effectLst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 Ground Level Field Components</a:t>
              </a:r>
              <a:endParaRPr kumimoji="0" lang="en-US" sz="1400" b="0" i="0" u="none" strike="noStrike" cap="none" spc="0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 flipV="1">
              <a:off x="12359" y="4671223"/>
              <a:ext cx="521934" cy="136893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vert" wrap="square" lIns="45719" tIns="45719" rIns="45719" bIns="45719" numCol="1" spcCol="38100" rtlCol="0" anchor="t">
              <a:spAutoFit/>
            </a:bodyPr>
            <a:lstStyle/>
            <a:p>
              <a:pPr marL="0" marR="0" indent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spc="0" normalizeH="0" baseline="0" dirty="0" smtClean="0">
                  <a:ln>
                    <a:noFill/>
                  </a:ln>
                  <a:solidFill>
                    <a:schemeClr val="accent4">
                      <a:lumMod val="50000"/>
                    </a:schemeClr>
                  </a:solidFill>
                  <a:effectLst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Underground Scenarios</a:t>
              </a:r>
              <a:endParaRPr kumimoji="0" lang="en-US" sz="1400" b="0" i="0" u="none" strike="noStrike" cap="none" spc="0" normalizeH="0" baseline="0" dirty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9470453" y="5796006"/>
              <a:ext cx="2649065" cy="43916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accent4">
                      <a:lumMod val="50000"/>
                    </a:schemeClr>
                  </a:solidFill>
                </a:rPr>
                <a:t>Case </a:t>
              </a:r>
              <a:r>
                <a:rPr lang="en-US" sz="1200" dirty="0" smtClean="0">
                  <a:solidFill>
                    <a:schemeClr val="accent4">
                      <a:lumMod val="50000"/>
                    </a:schemeClr>
                  </a:solidFill>
                </a:rPr>
                <a:t>4: </a:t>
              </a:r>
              <a:r>
                <a:rPr lang="en-US" sz="1200" dirty="0">
                  <a:solidFill>
                    <a:schemeClr val="accent4">
                      <a:lumMod val="50000"/>
                    </a:schemeClr>
                  </a:solidFill>
                </a:rPr>
                <a:t>Absence of Secure Boundary: Wireless Sensor</a:t>
              </a: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647560" y="3660722"/>
              <a:ext cx="1786759" cy="43916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200" b="1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OFC Fence</a:t>
              </a:r>
              <a:r>
                <a:rPr kumimoji="0" lang="en-US" sz="1200" b="1" i="0" u="none" strike="noStrike" cap="none" spc="0" normalizeH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 Sensor (PIDS)</a:t>
              </a:r>
              <a:endParaRPr kumimoji="0" lang="en-US" sz="12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926528" y="5007933"/>
              <a:ext cx="1596349" cy="43916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200" b="1" i="0" u="none" strike="noStrike" cap="none" spc="0" normalizeH="0" baseline="0" dirty="0" smtClean="0">
                  <a:ln>
                    <a:noFill/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effectLst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UVDS</a:t>
              </a:r>
            </a:p>
            <a:p>
              <a:pPr marL="0" marR="0" indent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200" b="1" i="0" u="none" strike="noStrike" cap="none" spc="0" normalizeH="0" baseline="0" dirty="0" smtClean="0">
                  <a:ln>
                    <a:noFill/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effectLst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OFC Buried</a:t>
              </a:r>
              <a:r>
                <a:rPr kumimoji="0" lang="en-US" sz="1200" b="1" i="0" u="none" strike="noStrike" cap="none" spc="0" normalizeH="0" dirty="0" smtClean="0">
                  <a:ln>
                    <a:noFill/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effectLst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 Sensor</a:t>
              </a:r>
              <a:endParaRPr kumimoji="0" lang="en-US" sz="1200" b="1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486062" y="3050174"/>
              <a:ext cx="1160871" cy="26349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RADAR (PSR)</a:t>
              </a:r>
              <a:endParaRPr kumimoji="0" lang="en-US" sz="12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3670593" y="3599284"/>
              <a:ext cx="1146742" cy="43916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200" b="1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Fixed CCTV Camera</a:t>
              </a:r>
              <a:endParaRPr kumimoji="0" lang="en-US" sz="12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5248130" y="3468481"/>
              <a:ext cx="1135741" cy="26160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200" b="1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PTZ Camera</a:t>
              </a:r>
              <a:endParaRPr kumimoji="0" lang="en-US" sz="12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6397290" y="2169283"/>
              <a:ext cx="2013694" cy="61482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200" b="1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Command &amp; Control Center (CCC) + Data Center (DC)</a:t>
              </a:r>
              <a:endParaRPr kumimoji="0" lang="en-US" sz="12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10076503" y="4985087"/>
              <a:ext cx="1596349" cy="26349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>
              <a:defPPr>
                <a:defRPr lang="en-US"/>
              </a:defPPr>
              <a:lvl1pPr marR="0" indent="0" algn="ctr" fontAlgn="auto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100" b="1" i="0" u="none" strike="noStrike" cap="none" spc="0" normalizeH="0" baseline="0">
                  <a:ln>
                    <a:noFill/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effectLst/>
                  <a:uFillTx/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n-US" sz="1200" dirty="0">
                  <a:sym typeface="Calibri"/>
                </a:rPr>
                <a:t>Wireless Sensor</a:t>
              </a: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7195226" y="5177126"/>
              <a:ext cx="1596349" cy="43916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>
              <a:defPPr>
                <a:defRPr lang="en-US"/>
              </a:defPPr>
              <a:lvl1pPr marR="0" indent="0" algn="ctr" fontAlgn="auto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100" b="1" i="0" u="none" strike="noStrike" cap="none" spc="0" normalizeH="0" baseline="0">
                  <a:ln>
                    <a:noFill/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effectLst/>
                  <a:uFillTx/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n-US" sz="1200" dirty="0">
                  <a:sym typeface="Calibri"/>
                </a:rPr>
                <a:t>Unattended Ground Sensor (UGS)</a:t>
              </a:r>
            </a:p>
          </p:txBody>
        </p:sp>
        <p:pic>
          <p:nvPicPr>
            <p:cNvPr id="44" name="Picture 10" descr="Related image"/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34530" r="66209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570" r="29831"/>
            <a:stretch/>
          </p:blipFill>
          <p:spPr bwMode="auto">
            <a:xfrm rot="3384438">
              <a:off x="7760877" y="3262807"/>
              <a:ext cx="267474" cy="11642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5" name="Picture 10" descr="Related image"/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34530" r="66209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570" r="29831"/>
            <a:stretch/>
          </p:blipFill>
          <p:spPr bwMode="auto">
            <a:xfrm rot="5400000">
              <a:off x="9583419" y="3003390"/>
              <a:ext cx="218066" cy="9491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6" name="Picture 3" descr="C:\Users\pooja.ghosh\Downloads\wireless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46712" y="4459437"/>
              <a:ext cx="220329" cy="2342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7" name="Picture 10" descr="Related image"/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34530" r="66209"/>
                      </a14:imgEffect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570" r="29831"/>
            <a:stretch/>
          </p:blipFill>
          <p:spPr bwMode="auto">
            <a:xfrm rot="6161614">
              <a:off x="7630503" y="2434767"/>
              <a:ext cx="218066" cy="13250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" name="Picture 3" descr="C:\Users\pooja.ghosh\Downloads\wireless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950059">
              <a:off x="10504935" y="4059169"/>
              <a:ext cx="234836" cy="2198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9" name="Picture 3" descr="C:\Users\pooja.ghosh\Downloads\wireless.pn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3866585">
              <a:off x="11289093" y="4117312"/>
              <a:ext cx="191483" cy="1792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0" name="Picture 3" descr="C:\Users\pooja.ghosh\Downloads\wireless.png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3866585">
              <a:off x="11566011" y="3938212"/>
              <a:ext cx="139803" cy="1308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1" name="Picture 3" descr="C:\Users\pooja.ghosh\Downloads\wireless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950059">
              <a:off x="10904986" y="4432965"/>
              <a:ext cx="234836" cy="2198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2" name="Picture 3" descr="C:\Users\pooja.ghosh\Downloads\wireless.png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30739">
              <a:off x="11837028" y="4357915"/>
              <a:ext cx="131167" cy="1394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3" name="Picture 3" descr="C:\Users\pooja.ghosh\Downloads\wireless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198001">
              <a:off x="9270311" y="4411147"/>
              <a:ext cx="234836" cy="2198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4" name="TextBox 53"/>
            <p:cNvSpPr txBox="1"/>
            <p:nvPr/>
          </p:nvSpPr>
          <p:spPr>
            <a:xfrm>
              <a:off x="5151369" y="5015538"/>
              <a:ext cx="1090681" cy="43916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200" b="1" i="0" u="none" strike="noStrike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SONAR &amp; Hydrophone</a:t>
              </a:r>
              <a:endParaRPr kumimoji="0" lang="en-US" sz="12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</p:grp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© 2019-2020 </a:t>
            </a:r>
            <a:r>
              <a:rPr lang="en-IN" smtClean="0"/>
              <a:t>Sterlite Technologies Limited</a:t>
            </a:r>
            <a:endParaRPr lang="en-US" dirty="0"/>
          </a:p>
        </p:txBody>
      </p:sp>
      <p:sp>
        <p:nvSpPr>
          <p:cNvPr id="8" name="Rectangle: Rounded Corners 1">
            <a:extLst>
              <a:ext uri="{FF2B5EF4-FFF2-40B4-BE49-F238E27FC236}">
                <a16:creationId xmlns:a16="http://schemas.microsoft.com/office/drawing/2014/main" xmlns="" id="{697193E9-089F-1048-ACED-23DB2A1C272F}"/>
              </a:ext>
            </a:extLst>
          </p:cNvPr>
          <p:cNvSpPr/>
          <p:nvPr/>
        </p:nvSpPr>
        <p:spPr>
          <a:xfrm>
            <a:off x="166255" y="199373"/>
            <a:ext cx="2923309" cy="1338482"/>
          </a:xfrm>
          <a:prstGeom prst="roundRect">
            <a:avLst>
              <a:gd name="adj" fmla="val 10887"/>
            </a:avLst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>
            <a:outerShdw blurRad="190500" sx="102000" sy="102000" algn="ctr" rotWithShape="0">
              <a:prstClr val="black">
                <a:alpha val="5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IN" sz="16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00652" y="431811"/>
            <a:ext cx="2640661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400" b="1" i="0" u="none" strike="noStrike" cap="none" spc="0" normalizeH="0" baseline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Integrated</a:t>
            </a:r>
            <a:r>
              <a:rPr kumimoji="0" lang="en-US" sz="2400" b="1" i="0" u="none" strike="noStrike" cap="none" spc="0" normalizeH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 Border 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400" b="1" i="0" u="none" strike="noStrike" cap="none" spc="0" normalizeH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Security System</a:t>
            </a:r>
            <a:endParaRPr kumimoji="0" lang="en-US" sz="2400" b="1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cxnSp>
        <p:nvCxnSpPr>
          <p:cNvPr id="55" name="Straight Connector 54"/>
          <p:cNvCxnSpPr/>
          <p:nvPr/>
        </p:nvCxnSpPr>
        <p:spPr>
          <a:xfrm>
            <a:off x="484087" y="4796212"/>
            <a:ext cx="0" cy="1308650"/>
          </a:xfrm>
          <a:prstGeom prst="line">
            <a:avLst/>
          </a:prstGeom>
          <a:noFill/>
          <a:ln w="28575" cap="flat">
            <a:solidFill>
              <a:schemeClr val="accent2">
                <a:lumMod val="50000"/>
              </a:schemeClr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94283001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2086" name="Picture 6" descr="Related ima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1597" y="2242035"/>
            <a:ext cx="4856211" cy="4363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Rectangle: Rounded Corners 1">
            <a:extLst>
              <a:ext uri="{FF2B5EF4-FFF2-40B4-BE49-F238E27FC236}">
                <a16:creationId xmlns:a16="http://schemas.microsoft.com/office/drawing/2014/main" xmlns="" id="{697193E9-089F-1048-ACED-23DB2A1C272F}"/>
              </a:ext>
            </a:extLst>
          </p:cNvPr>
          <p:cNvSpPr/>
          <p:nvPr/>
        </p:nvSpPr>
        <p:spPr>
          <a:xfrm>
            <a:off x="4089876" y="3366655"/>
            <a:ext cx="3250505" cy="2963884"/>
          </a:xfrm>
          <a:prstGeom prst="roundRect">
            <a:avLst>
              <a:gd name="adj" fmla="val 10887"/>
            </a:avLst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>
            <a:outerShdw blurRad="190500" sx="102000" sy="102000" algn="ctr" rotWithShape="0">
              <a:prstClr val="black">
                <a:alpha val="5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IN" sz="16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© 2019-2020 </a:t>
            </a:r>
            <a:r>
              <a:rPr lang="en-IN" smtClean="0"/>
              <a:t>Sterlite Technologies Limited</a:t>
            </a:r>
            <a:endParaRPr lang="en-US" dirty="0"/>
          </a:p>
        </p:txBody>
      </p:sp>
      <p:sp>
        <p:nvSpPr>
          <p:cNvPr id="8" name="Rectangle: Rounded Corners 1">
            <a:extLst>
              <a:ext uri="{FF2B5EF4-FFF2-40B4-BE49-F238E27FC236}">
                <a16:creationId xmlns:a16="http://schemas.microsoft.com/office/drawing/2014/main" xmlns="" id="{697193E9-089F-1048-ACED-23DB2A1C272F}"/>
              </a:ext>
            </a:extLst>
          </p:cNvPr>
          <p:cNvSpPr/>
          <p:nvPr/>
        </p:nvSpPr>
        <p:spPr>
          <a:xfrm>
            <a:off x="166255" y="199373"/>
            <a:ext cx="2923309" cy="1338482"/>
          </a:xfrm>
          <a:prstGeom prst="roundRect">
            <a:avLst>
              <a:gd name="adj" fmla="val 10887"/>
            </a:avLst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>
            <a:outerShdw blurRad="190500" sx="102000" sy="102000" algn="ctr" rotWithShape="0">
              <a:prstClr val="black">
                <a:alpha val="5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IN" sz="16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00652" y="431811"/>
            <a:ext cx="2640661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400" b="1" i="0" u="none" strike="noStrike" cap="none" spc="0" normalizeH="0" baseline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Integrated</a:t>
            </a:r>
            <a:r>
              <a:rPr kumimoji="0" lang="en-US" sz="2400" b="1" i="0" u="none" strike="noStrike" cap="none" spc="0" normalizeH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 Border 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400" b="1" i="0" u="none" strike="noStrike" cap="none" spc="0" normalizeH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Security System</a:t>
            </a:r>
            <a:endParaRPr kumimoji="0" lang="en-US" sz="2400" b="1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223961" y="401735"/>
            <a:ext cx="761999" cy="144654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8800" b="0" i="0" u="none" strike="noStrike" cap="none" spc="0" normalizeH="0" baseline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1</a:t>
            </a:r>
            <a:endParaRPr kumimoji="0" lang="en-US" sz="8800" b="0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757364" y="944292"/>
            <a:ext cx="7003474" cy="70788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4000" b="0" i="0" u="none" strike="noStrike" cap="none" spc="0" normalizeH="0" baseline="0" dirty="0" smtClean="0">
                <a:ln>
                  <a:noFill/>
                </a:ln>
                <a:solidFill>
                  <a:srgbClr val="1B48C4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Photo sensor</a:t>
            </a:r>
            <a:r>
              <a:rPr kumimoji="0" lang="en-US" sz="4000" b="0" i="0" u="none" strike="noStrike" cap="none" spc="0" normalizeH="0" dirty="0" smtClean="0">
                <a:ln>
                  <a:noFill/>
                </a:ln>
                <a:solidFill>
                  <a:srgbClr val="1B48C4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 with LTE backhaul</a:t>
            </a:r>
            <a:endParaRPr kumimoji="0" lang="en-US" sz="4000" b="0" i="0" u="none" strike="noStrike" cap="none" spc="0" normalizeH="0" baseline="0" dirty="0">
              <a:ln>
                <a:noFill/>
              </a:ln>
              <a:solidFill>
                <a:srgbClr val="1B48C4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pic>
        <p:nvPicPr>
          <p:cNvPr id="302084" name="Picture 4" descr="Image result for network pole png"/>
          <p:cNvPicPr>
            <a:picLocks noChangeAspect="1" noChangeArrowheads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3754" y="4270438"/>
            <a:ext cx="2022748" cy="2022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Rectangle: Rounded Corners 1">
            <a:extLst>
              <a:ext uri="{FF2B5EF4-FFF2-40B4-BE49-F238E27FC236}">
                <a16:creationId xmlns:a16="http://schemas.microsoft.com/office/drawing/2014/main" xmlns="" id="{697193E9-089F-1048-ACED-23DB2A1C272F}"/>
              </a:ext>
            </a:extLst>
          </p:cNvPr>
          <p:cNvSpPr/>
          <p:nvPr/>
        </p:nvSpPr>
        <p:spPr>
          <a:xfrm>
            <a:off x="213131" y="3366655"/>
            <a:ext cx="3250505" cy="2963884"/>
          </a:xfrm>
          <a:prstGeom prst="roundRect">
            <a:avLst>
              <a:gd name="adj" fmla="val 10887"/>
            </a:avLst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>
            <a:outerShdw blurRad="190500" sx="102000" sy="102000" algn="ctr" rotWithShape="0">
              <a:prstClr val="black">
                <a:alpha val="5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IN" sz="16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pic>
        <p:nvPicPr>
          <p:cNvPr id="56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9" t="4215" r="3110" b="13162"/>
          <a:stretch/>
        </p:blipFill>
        <p:spPr bwMode="auto">
          <a:xfrm>
            <a:off x="300652" y="3490852"/>
            <a:ext cx="2993369" cy="2715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Arrow Connector 5"/>
          <p:cNvCxnSpPr/>
          <p:nvPr/>
        </p:nvCxnSpPr>
        <p:spPr>
          <a:xfrm flipV="1">
            <a:off x="3212892" y="4890655"/>
            <a:ext cx="1262126" cy="14222"/>
          </a:xfrm>
          <a:prstGeom prst="straightConnector1">
            <a:avLst/>
          </a:prstGeom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9" name="Straight Arrow Connector 58"/>
          <p:cNvCxnSpPr/>
          <p:nvPr/>
        </p:nvCxnSpPr>
        <p:spPr>
          <a:xfrm flipV="1">
            <a:off x="7108886" y="4876433"/>
            <a:ext cx="1262126" cy="14222"/>
          </a:xfrm>
          <a:prstGeom prst="straightConnector1">
            <a:avLst/>
          </a:prstGeom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0" name="Straight Arrow Connector 59"/>
          <p:cNvCxnSpPr/>
          <p:nvPr/>
        </p:nvCxnSpPr>
        <p:spPr>
          <a:xfrm>
            <a:off x="3397146" y="6416458"/>
            <a:ext cx="3398373" cy="0"/>
          </a:xfrm>
          <a:prstGeom prst="straightConnector1">
            <a:avLst/>
          </a:prstGeom>
          <a:noFill/>
          <a:ln w="12700" cap="flat">
            <a:solidFill>
              <a:schemeClr val="accent1"/>
            </a:solidFill>
            <a:prstDash val="solid"/>
            <a:miter lim="800000"/>
            <a:headEnd type="triangle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61" name="Straight Arrow Connector 60"/>
          <p:cNvCxnSpPr/>
          <p:nvPr/>
        </p:nvCxnSpPr>
        <p:spPr>
          <a:xfrm>
            <a:off x="599546" y="6408627"/>
            <a:ext cx="2489999" cy="0"/>
          </a:xfrm>
          <a:prstGeom prst="straightConnector1">
            <a:avLst/>
          </a:prstGeom>
          <a:noFill/>
          <a:ln w="12700" cap="flat">
            <a:solidFill>
              <a:schemeClr val="accent1"/>
            </a:solidFill>
            <a:prstDash val="solid"/>
            <a:miter lim="800000"/>
            <a:headEnd type="triangle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2" name="TextBox 61"/>
          <p:cNvSpPr txBox="1"/>
          <p:nvPr/>
        </p:nvSpPr>
        <p:spPr>
          <a:xfrm>
            <a:off x="599546" y="6350298"/>
            <a:ext cx="2489999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b="1" i="0" u="none" strike="noStrike" cap="none" spc="0" normalizeH="0" baseline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sym typeface="Calibri"/>
              </a:rPr>
              <a:t>Sensor</a:t>
            </a:r>
            <a:r>
              <a:rPr kumimoji="0" lang="en-IN" b="1" i="0" u="none" strike="noStrike" cap="none" spc="0" normalizeH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sym typeface="Calibri"/>
              </a:rPr>
              <a:t> </a:t>
            </a:r>
            <a:r>
              <a:rPr kumimoji="0" lang="en-IN" b="1" i="0" u="none" strike="noStrike" cap="none" spc="0" normalizeH="0" baseline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sym typeface="Calibri"/>
              </a:rPr>
              <a:t>Range: </a:t>
            </a:r>
            <a:r>
              <a:rPr lang="en-IN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38</a:t>
            </a:r>
            <a:r>
              <a:rPr kumimoji="0" lang="en-IN" b="1" i="0" u="none" strike="noStrike" cap="none" spc="0" normalizeH="0" baseline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sym typeface="Calibri"/>
              </a:rPr>
              <a:t>m</a:t>
            </a:r>
            <a:r>
              <a:rPr kumimoji="0" lang="en-IN" b="1" i="0" u="none" strike="noStrike" cap="none" spc="0" normalizeH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sym typeface="Calibri"/>
              </a:rPr>
              <a:t> </a:t>
            </a:r>
            <a:endParaRPr kumimoji="0" lang="en-GB" b="1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FillTx/>
              <a:sym typeface="Calibri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3859646" y="6374893"/>
            <a:ext cx="2489999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IN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onnectivity</a:t>
            </a:r>
            <a:r>
              <a:rPr kumimoji="0" lang="en-IN" b="1" i="0" u="none" strike="noStrike" cap="none" spc="0" normalizeH="0" baseline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sym typeface="Calibri"/>
              </a:rPr>
              <a:t>: 80</a:t>
            </a:r>
            <a:r>
              <a:rPr kumimoji="0" lang="en-IN" b="1" i="0" u="none" strike="noStrike" cap="none" spc="0" normalizeH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sym typeface="Calibri"/>
              </a:rPr>
              <a:t> Km</a:t>
            </a:r>
            <a:endParaRPr kumimoji="0" lang="en-GB" b="1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FillTx/>
              <a:sym typeface="Calibri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29491" y="2895600"/>
            <a:ext cx="2783401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000" b="1" i="0" u="none" strike="noStrike" cap="none" spc="0" normalizeH="0" baseline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Photo sensor</a:t>
            </a:r>
            <a:endParaRPr kumimoji="0" lang="en-US" sz="2000" b="1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0648" y="2908283"/>
            <a:ext cx="2783401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000" b="1" i="0" u="none" strike="noStrike" cap="none" spc="0" normalizeH="0" baseline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Private</a:t>
            </a:r>
            <a:r>
              <a:rPr kumimoji="0" lang="en-US" sz="2000" b="1" i="0" u="none" strike="noStrike" cap="none" spc="0" normalizeH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 network</a:t>
            </a:r>
            <a:endParaRPr kumimoji="0" lang="en-US" sz="2000" b="1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8031806" y="5126572"/>
            <a:ext cx="2783401" cy="70788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000" b="1" i="0" u="none" strike="noStrike" cap="none" spc="0" normalizeH="0" baseline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mmand</a:t>
            </a:r>
            <a:r>
              <a:rPr kumimoji="0" lang="en-US" sz="2000" b="1" i="0" u="none" strike="noStrike" cap="none" spc="0" normalizeH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 and 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2000" b="1" dirty="0">
                <a:solidFill>
                  <a:schemeClr val="tx1">
                    <a:lumMod val="50000"/>
                    <a:lumOff val="50000"/>
                  </a:schemeClr>
                </a:solidFill>
                <a:sym typeface="Calibri"/>
              </a:rPr>
              <a:t>c</a:t>
            </a:r>
            <a:r>
              <a:rPr kumimoji="0" lang="en-US" sz="2000" b="1" i="0" u="none" strike="noStrike" cap="none" spc="0" normalizeH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ontrol </a:t>
            </a:r>
            <a:r>
              <a:rPr lang="en-US" sz="2000" b="1" dirty="0" err="1">
                <a:solidFill>
                  <a:schemeClr val="tx1">
                    <a:lumMod val="50000"/>
                    <a:lumOff val="50000"/>
                  </a:schemeClr>
                </a:solidFill>
                <a:sym typeface="Calibri"/>
              </a:rPr>
              <a:t>c</a:t>
            </a:r>
            <a:r>
              <a:rPr kumimoji="0" lang="en-US" sz="2000" b="1" i="0" u="none" strike="noStrike" cap="none" spc="0" normalizeH="0" dirty="0" err="1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entre</a:t>
            </a:r>
            <a:endParaRPr kumimoji="0" lang="en-US" sz="2000" b="1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2090160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: Rounded Corners 1">
            <a:extLst>
              <a:ext uri="{FF2B5EF4-FFF2-40B4-BE49-F238E27FC236}">
                <a16:creationId xmlns:a16="http://schemas.microsoft.com/office/drawing/2014/main" xmlns="" id="{697193E9-089F-1048-ACED-23DB2A1C272F}"/>
              </a:ext>
            </a:extLst>
          </p:cNvPr>
          <p:cNvSpPr/>
          <p:nvPr/>
        </p:nvSpPr>
        <p:spPr>
          <a:xfrm>
            <a:off x="213131" y="3366655"/>
            <a:ext cx="3250505" cy="2963884"/>
          </a:xfrm>
          <a:prstGeom prst="roundRect">
            <a:avLst>
              <a:gd name="adj" fmla="val 10887"/>
            </a:avLst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>
            <a:outerShdw blurRad="190500" sx="102000" sy="102000" algn="ctr" rotWithShape="0">
              <a:prstClr val="black">
                <a:alpha val="5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IN" sz="16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© 2019-2020 </a:t>
            </a:r>
            <a:r>
              <a:rPr lang="en-IN" smtClean="0"/>
              <a:t>Sterlite Technologies Limited</a:t>
            </a:r>
            <a:endParaRPr lang="en-US" dirty="0"/>
          </a:p>
        </p:txBody>
      </p:sp>
      <p:sp>
        <p:nvSpPr>
          <p:cNvPr id="8" name="Rectangle: Rounded Corners 1">
            <a:extLst>
              <a:ext uri="{FF2B5EF4-FFF2-40B4-BE49-F238E27FC236}">
                <a16:creationId xmlns:a16="http://schemas.microsoft.com/office/drawing/2014/main" xmlns="" id="{697193E9-089F-1048-ACED-23DB2A1C272F}"/>
              </a:ext>
            </a:extLst>
          </p:cNvPr>
          <p:cNvSpPr/>
          <p:nvPr/>
        </p:nvSpPr>
        <p:spPr>
          <a:xfrm>
            <a:off x="166255" y="199373"/>
            <a:ext cx="2923309" cy="1338482"/>
          </a:xfrm>
          <a:prstGeom prst="roundRect">
            <a:avLst>
              <a:gd name="adj" fmla="val 10887"/>
            </a:avLst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>
            <a:outerShdw blurRad="190500" sx="102000" sy="102000" algn="ctr" rotWithShape="0">
              <a:prstClr val="black">
                <a:alpha val="5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IN" sz="16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00652" y="431811"/>
            <a:ext cx="2640661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400" b="1" i="0" u="none" strike="noStrike" cap="none" spc="0" normalizeH="0" baseline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Integrated</a:t>
            </a:r>
            <a:r>
              <a:rPr kumimoji="0" lang="en-US" sz="2400" b="1" i="0" u="none" strike="noStrike" cap="none" spc="0" normalizeH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 Border 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400" b="1" i="0" u="none" strike="noStrike" cap="none" spc="0" normalizeH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Security System</a:t>
            </a:r>
            <a:endParaRPr kumimoji="0" lang="en-US" sz="2400" b="1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223961" y="401735"/>
            <a:ext cx="761999" cy="144654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8800" dirty="0">
                <a:solidFill>
                  <a:schemeClr val="tx1">
                    <a:lumMod val="50000"/>
                    <a:lumOff val="50000"/>
                  </a:schemeClr>
                </a:solidFill>
                <a:sym typeface="Calibri"/>
              </a:rPr>
              <a:t>2</a:t>
            </a:r>
            <a:endParaRPr kumimoji="0" lang="en-US" sz="8800" b="0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757364" y="944292"/>
            <a:ext cx="7003474" cy="132343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hangingPunct="0"/>
            <a:r>
              <a:rPr lang="en-US" sz="4000" dirty="0">
                <a:solidFill>
                  <a:srgbClr val="1B48C4"/>
                </a:solidFill>
                <a:sym typeface="Calibri"/>
              </a:rPr>
              <a:t>Underground sensing &amp; camera with LTE backhaul</a:t>
            </a:r>
          </a:p>
        </p:txBody>
      </p:sp>
      <p:pic>
        <p:nvPicPr>
          <p:cNvPr id="11" name="Picture 6" descr="Related ima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1597" y="2242035"/>
            <a:ext cx="4856211" cy="4363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: Rounded Corners 1">
            <a:extLst>
              <a:ext uri="{FF2B5EF4-FFF2-40B4-BE49-F238E27FC236}">
                <a16:creationId xmlns:a16="http://schemas.microsoft.com/office/drawing/2014/main" xmlns="" id="{697193E9-089F-1048-ACED-23DB2A1C272F}"/>
              </a:ext>
            </a:extLst>
          </p:cNvPr>
          <p:cNvSpPr/>
          <p:nvPr/>
        </p:nvSpPr>
        <p:spPr>
          <a:xfrm>
            <a:off x="4089876" y="3366655"/>
            <a:ext cx="3250505" cy="2963884"/>
          </a:xfrm>
          <a:prstGeom prst="roundRect">
            <a:avLst>
              <a:gd name="adj" fmla="val 10887"/>
            </a:avLst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>
            <a:outerShdw blurRad="190500" sx="102000" sy="102000" algn="ctr" rotWithShape="0">
              <a:prstClr val="black">
                <a:alpha val="5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IN" sz="16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pic>
        <p:nvPicPr>
          <p:cNvPr id="13" name="Picture 4" descr="Image result for network pole png"/>
          <p:cNvPicPr>
            <a:picLocks noChangeAspect="1" noChangeArrowheads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3754" y="4270438"/>
            <a:ext cx="2022748" cy="2022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Straight Arrow Connector 15"/>
          <p:cNvCxnSpPr/>
          <p:nvPr/>
        </p:nvCxnSpPr>
        <p:spPr>
          <a:xfrm flipV="1">
            <a:off x="3212892" y="4890655"/>
            <a:ext cx="1262126" cy="14222"/>
          </a:xfrm>
          <a:prstGeom prst="straightConnector1">
            <a:avLst/>
          </a:prstGeom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7108886" y="4876433"/>
            <a:ext cx="1262126" cy="14222"/>
          </a:xfrm>
          <a:prstGeom prst="straightConnector1">
            <a:avLst/>
          </a:prstGeom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3397146" y="6416458"/>
            <a:ext cx="3398373" cy="0"/>
          </a:xfrm>
          <a:prstGeom prst="straightConnector1">
            <a:avLst/>
          </a:prstGeom>
          <a:noFill/>
          <a:ln w="12700" cap="flat">
            <a:solidFill>
              <a:schemeClr val="accent1"/>
            </a:solidFill>
            <a:prstDash val="solid"/>
            <a:miter lim="800000"/>
            <a:headEnd type="triangle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9" name="Straight Arrow Connector 18"/>
          <p:cNvCxnSpPr/>
          <p:nvPr/>
        </p:nvCxnSpPr>
        <p:spPr>
          <a:xfrm>
            <a:off x="599546" y="6408627"/>
            <a:ext cx="2489999" cy="0"/>
          </a:xfrm>
          <a:prstGeom prst="straightConnector1">
            <a:avLst/>
          </a:prstGeom>
          <a:noFill/>
          <a:ln w="12700" cap="flat">
            <a:solidFill>
              <a:schemeClr val="accent1"/>
            </a:solidFill>
            <a:prstDash val="solid"/>
            <a:miter lim="800000"/>
            <a:headEnd type="triangle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0" name="TextBox 19"/>
          <p:cNvSpPr txBox="1"/>
          <p:nvPr/>
        </p:nvSpPr>
        <p:spPr>
          <a:xfrm>
            <a:off x="436361" y="6374893"/>
            <a:ext cx="2788893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b="1" i="0" u="none" strike="noStrike" cap="none" spc="0" normalizeH="0" baseline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sym typeface="Calibri"/>
              </a:rPr>
              <a:t>Sensor</a:t>
            </a:r>
            <a:r>
              <a:rPr kumimoji="0" lang="en-IN" b="1" i="0" u="none" strike="noStrike" cap="none" spc="0" normalizeH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sym typeface="Calibri"/>
              </a:rPr>
              <a:t> </a:t>
            </a:r>
            <a:r>
              <a:rPr kumimoji="0" lang="en-IN" b="1" i="0" u="none" strike="noStrike" cap="none" spc="0" normalizeH="0" baseline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sym typeface="Calibri"/>
              </a:rPr>
              <a:t>Range: </a:t>
            </a:r>
            <a:r>
              <a:rPr lang="en-IN" b="1" dirty="0" smtClean="0">
                <a:solidFill>
                  <a:schemeClr val="tx1">
                    <a:lumMod val="50000"/>
                    <a:lumOff val="50000"/>
                  </a:schemeClr>
                </a:solidFill>
                <a:sym typeface="Calibri"/>
              </a:rPr>
              <a:t>8-12m radius</a:t>
            </a:r>
            <a:r>
              <a:rPr kumimoji="0" lang="en-IN" b="1" i="0" u="none" strike="noStrike" cap="none" spc="0" normalizeH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sym typeface="Calibri"/>
              </a:rPr>
              <a:t> </a:t>
            </a:r>
            <a:endParaRPr kumimoji="0" lang="en-GB" b="1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FillTx/>
              <a:sym typeface="Calibri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3859646" y="6374893"/>
            <a:ext cx="2489999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IN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onnectivity</a:t>
            </a:r>
            <a:r>
              <a:rPr kumimoji="0" lang="en-IN" b="1" i="0" u="none" strike="noStrike" cap="none" spc="0" normalizeH="0" baseline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sym typeface="Calibri"/>
              </a:rPr>
              <a:t>: 80</a:t>
            </a:r>
            <a:r>
              <a:rPr kumimoji="0" lang="en-IN" b="1" i="0" u="none" strike="noStrike" cap="none" spc="0" normalizeH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sym typeface="Calibri"/>
              </a:rPr>
              <a:t> Km</a:t>
            </a:r>
            <a:endParaRPr kumimoji="0" lang="en-GB" b="1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FillTx/>
              <a:sym typeface="Calibri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29491" y="2687936"/>
            <a:ext cx="2783401" cy="70788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2000" b="1" dirty="0" smtClean="0">
                <a:solidFill>
                  <a:schemeClr val="tx1">
                    <a:lumMod val="50000"/>
                    <a:lumOff val="50000"/>
                  </a:schemeClr>
                </a:solidFill>
                <a:sym typeface="Calibri"/>
              </a:rPr>
              <a:t>Underground</a:t>
            </a:r>
            <a:r>
              <a:rPr kumimoji="0" lang="en-US" sz="2000" b="1" i="0" u="none" strike="noStrike" cap="none" spc="0" normalizeH="0" baseline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 sensor with camera</a:t>
            </a:r>
            <a:endParaRPr kumimoji="0" lang="en-US" sz="2000" b="1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230648" y="2908283"/>
            <a:ext cx="2783401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000" b="1" i="0" u="none" strike="noStrike" cap="none" spc="0" normalizeH="0" baseline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Private</a:t>
            </a:r>
            <a:r>
              <a:rPr kumimoji="0" lang="en-US" sz="2000" b="1" i="0" u="none" strike="noStrike" cap="none" spc="0" normalizeH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 network</a:t>
            </a:r>
            <a:endParaRPr kumimoji="0" lang="en-US" sz="2000" b="1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8031806" y="5126572"/>
            <a:ext cx="2783401" cy="70788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000" b="1" i="0" u="none" strike="noStrike" cap="none" spc="0" normalizeH="0" baseline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mmand</a:t>
            </a:r>
            <a:r>
              <a:rPr kumimoji="0" lang="en-US" sz="2000" b="1" i="0" u="none" strike="noStrike" cap="none" spc="0" normalizeH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 and 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2000" b="1" dirty="0">
                <a:solidFill>
                  <a:schemeClr val="tx1">
                    <a:lumMod val="50000"/>
                    <a:lumOff val="50000"/>
                  </a:schemeClr>
                </a:solidFill>
                <a:sym typeface="Calibri"/>
              </a:rPr>
              <a:t>c</a:t>
            </a:r>
            <a:r>
              <a:rPr kumimoji="0" lang="en-US" sz="2000" b="1" i="0" u="none" strike="noStrike" cap="none" spc="0" normalizeH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ontrol </a:t>
            </a:r>
            <a:r>
              <a:rPr lang="en-US" sz="2000" b="1" dirty="0" err="1">
                <a:solidFill>
                  <a:schemeClr val="tx1">
                    <a:lumMod val="50000"/>
                    <a:lumOff val="50000"/>
                  </a:schemeClr>
                </a:solidFill>
                <a:sym typeface="Calibri"/>
              </a:rPr>
              <a:t>c</a:t>
            </a:r>
            <a:r>
              <a:rPr kumimoji="0" lang="en-US" sz="2000" b="1" i="0" u="none" strike="noStrike" cap="none" spc="0" normalizeH="0" dirty="0" err="1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entre</a:t>
            </a:r>
            <a:endParaRPr kumimoji="0" lang="en-US" sz="2000" b="1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436361" y="5644275"/>
            <a:ext cx="1072775" cy="706023"/>
            <a:chOff x="1565415" y="4125292"/>
            <a:chExt cx="1280357" cy="856151"/>
          </a:xfrm>
        </p:grpSpPr>
        <p:sp>
          <p:nvSpPr>
            <p:cNvPr id="26" name="object 6"/>
            <p:cNvSpPr/>
            <p:nvPr/>
          </p:nvSpPr>
          <p:spPr>
            <a:xfrm>
              <a:off x="1565415" y="4125292"/>
              <a:ext cx="612077" cy="856151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7" name="Picture 3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2177491" y="4139596"/>
              <a:ext cx="668281" cy="249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303106" name="Picture 2" descr="Image result for camera with antenna 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3751" y="3362248"/>
            <a:ext cx="1955376" cy="1418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6127999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2"/>
          </p:nvPr>
        </p:nvSpPr>
        <p:spPr>
          <a:xfrm>
            <a:off x="11924168" y="6896541"/>
            <a:ext cx="245751" cy="225709"/>
          </a:xfrm>
        </p:spPr>
        <p:txBody>
          <a:bodyPr/>
          <a:lstStyle/>
          <a:p>
            <a:fld id="{86CB4B4D-7CA3-9044-876B-883B54F8677D}" type="slidenum">
              <a:rPr lang="en-IN" smtClean="0"/>
              <a:t>2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© 2019-2020 </a:t>
            </a:r>
            <a:r>
              <a:rPr lang="en-IN" smtClean="0"/>
              <a:t>Sterlite Technologies Limited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056133" y="950017"/>
            <a:ext cx="6929080" cy="788175"/>
          </a:xfrm>
        </p:spPr>
        <p:txBody>
          <a:bodyPr/>
          <a:lstStyle/>
          <a:p>
            <a:r>
              <a:rPr lang="en-IN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bout Us</a:t>
            </a:r>
            <a:endParaRPr lang="en-IN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" name="Title 5"/>
          <p:cNvSpPr txBox="1">
            <a:spLocks/>
          </p:cNvSpPr>
          <p:nvPr/>
        </p:nvSpPr>
        <p:spPr>
          <a:xfrm>
            <a:off x="4833430" y="4269410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r>
              <a:rPr lang="en-US" dirty="0" smtClean="0">
                <a:solidFill>
                  <a:schemeClr val="bg1">
                    <a:lumMod val="85000"/>
                  </a:schemeClr>
                </a:solidFill>
              </a:rPr>
              <a:t>STL has the KEY</a:t>
            </a:r>
            <a:endParaRPr lang="en-IN" kern="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1" name="Title 5"/>
          <p:cNvSpPr txBox="1">
            <a:spLocks/>
          </p:cNvSpPr>
          <p:nvPr/>
        </p:nvSpPr>
        <p:spPr>
          <a:xfrm>
            <a:off x="5262920" y="3788917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endParaRPr lang="en-IN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" name="Title 5"/>
          <p:cNvSpPr txBox="1">
            <a:spLocks/>
          </p:cNvSpPr>
          <p:nvPr/>
        </p:nvSpPr>
        <p:spPr>
          <a:xfrm>
            <a:off x="5262920" y="3923116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endParaRPr lang="en-IN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Title 5"/>
          <p:cNvSpPr txBox="1">
            <a:spLocks/>
          </p:cNvSpPr>
          <p:nvPr/>
        </p:nvSpPr>
        <p:spPr>
          <a:xfrm>
            <a:off x="4638023" y="4760365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endParaRPr lang="en-IN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Title 5"/>
          <p:cNvSpPr txBox="1">
            <a:spLocks/>
          </p:cNvSpPr>
          <p:nvPr/>
        </p:nvSpPr>
        <p:spPr>
          <a:xfrm>
            <a:off x="5415320" y="2507062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r>
              <a:rPr lang="en-IN" kern="0" dirty="0" smtClean="0">
                <a:solidFill>
                  <a:schemeClr val="bg1">
                    <a:lumMod val="85000"/>
                  </a:schemeClr>
                </a:solidFill>
              </a:rPr>
              <a:t>Network Concerns &amp; Solution</a:t>
            </a:r>
            <a:endParaRPr lang="en-IN" kern="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5" name="Title 5"/>
          <p:cNvSpPr txBox="1">
            <a:spLocks/>
          </p:cNvSpPr>
          <p:nvPr/>
        </p:nvSpPr>
        <p:spPr>
          <a:xfrm>
            <a:off x="5415320" y="3415581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r>
              <a:rPr lang="en-IN" kern="0" dirty="0" smtClean="0">
                <a:solidFill>
                  <a:schemeClr val="bg1">
                    <a:lumMod val="85000"/>
                  </a:schemeClr>
                </a:solidFill>
              </a:rPr>
              <a:t>Border Concerns &amp; Solution</a:t>
            </a:r>
            <a:endParaRPr lang="en-IN" kern="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6" name="Title 5"/>
          <p:cNvSpPr txBox="1">
            <a:spLocks/>
          </p:cNvSpPr>
          <p:nvPr/>
        </p:nvSpPr>
        <p:spPr>
          <a:xfrm>
            <a:off x="4056133" y="5013784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r>
              <a:rPr lang="en-IN" kern="0" dirty="0" smtClean="0">
                <a:solidFill>
                  <a:schemeClr val="bg1">
                    <a:lumMod val="85000"/>
                  </a:schemeClr>
                </a:solidFill>
              </a:rPr>
              <a:t>Partner Ecosystem</a:t>
            </a:r>
            <a:endParaRPr lang="en-IN" kern="0" dirty="0">
              <a:solidFill>
                <a:schemeClr val="bg1">
                  <a:lumMod val="85000"/>
                </a:schemeClr>
              </a:solidFill>
            </a:endParaRPr>
          </a:p>
        </p:txBody>
      </p:sp>
      <p:pic>
        <p:nvPicPr>
          <p:cNvPr id="29" name="Picture Placeholder 28"/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54" r="30454"/>
          <a:stretch>
            <a:fillRect/>
          </a:stretch>
        </p:blipFill>
        <p:spPr/>
      </p:pic>
      <p:sp>
        <p:nvSpPr>
          <p:cNvPr id="17" name="Title 5"/>
          <p:cNvSpPr txBox="1">
            <a:spLocks/>
          </p:cNvSpPr>
          <p:nvPr/>
        </p:nvSpPr>
        <p:spPr>
          <a:xfrm>
            <a:off x="4833430" y="1721612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r>
              <a:rPr lang="en-US" dirty="0" smtClean="0">
                <a:solidFill>
                  <a:schemeClr val="bg1">
                    <a:lumMod val="85000"/>
                  </a:schemeClr>
                </a:solidFill>
              </a:rPr>
              <a:t>Customer Base</a:t>
            </a:r>
            <a:endParaRPr lang="en-IN" kern="0" dirty="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98147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5158" name="Picture 6" descr="Related imag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182"/>
          <a:stretch/>
        </p:blipFill>
        <p:spPr bwMode="auto">
          <a:xfrm>
            <a:off x="0" y="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: Rounded Corners 1">
            <a:extLst>
              <a:ext uri="{FF2B5EF4-FFF2-40B4-BE49-F238E27FC236}">
                <a16:creationId xmlns:a16="http://schemas.microsoft.com/office/drawing/2014/main" xmlns="" id="{697193E9-089F-1048-ACED-23DB2A1C272F}"/>
              </a:ext>
            </a:extLst>
          </p:cNvPr>
          <p:cNvSpPr/>
          <p:nvPr/>
        </p:nvSpPr>
        <p:spPr>
          <a:xfrm>
            <a:off x="6732056" y="4698739"/>
            <a:ext cx="5192112" cy="1763510"/>
          </a:xfrm>
          <a:prstGeom prst="roundRect">
            <a:avLst>
              <a:gd name="adj" fmla="val 10887"/>
            </a:avLst>
          </a:prstGeom>
          <a:solidFill>
            <a:srgbClr val="F8F8F8">
              <a:alpha val="80000"/>
            </a:srgbClr>
          </a:solidFill>
          <a:ln w="12700" cap="flat">
            <a:noFill/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indent="-285750" hangingPunct="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IN" sz="2400" dirty="0">
              <a:solidFill>
                <a:schemeClr val="tx1">
                  <a:lumMod val="75000"/>
                  <a:lumOff val="25000"/>
                </a:schemeClr>
              </a:solidFill>
              <a:sym typeface="Calibri"/>
            </a:endParaRPr>
          </a:p>
        </p:txBody>
      </p:sp>
      <p:sp>
        <p:nvSpPr>
          <p:cNvPr id="14" name="Rectangle: Rounded Corners 1">
            <a:extLst>
              <a:ext uri="{FF2B5EF4-FFF2-40B4-BE49-F238E27FC236}">
                <a16:creationId xmlns:a16="http://schemas.microsoft.com/office/drawing/2014/main" xmlns="" id="{697193E9-089F-1048-ACED-23DB2A1C272F}"/>
              </a:ext>
            </a:extLst>
          </p:cNvPr>
          <p:cNvSpPr/>
          <p:nvPr/>
        </p:nvSpPr>
        <p:spPr>
          <a:xfrm>
            <a:off x="6727856" y="1226505"/>
            <a:ext cx="5192112" cy="1603020"/>
          </a:xfrm>
          <a:prstGeom prst="roundRect">
            <a:avLst>
              <a:gd name="adj" fmla="val 10887"/>
            </a:avLst>
          </a:prstGeom>
          <a:solidFill>
            <a:srgbClr val="F8F8F8">
              <a:alpha val="80000"/>
            </a:srgbClr>
          </a:solidFill>
          <a:ln w="12700" cap="flat">
            <a:noFill/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indent="-285750" hangingPunct="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IN" sz="2400" dirty="0">
              <a:solidFill>
                <a:schemeClr val="tx1">
                  <a:lumMod val="75000"/>
                  <a:lumOff val="25000"/>
                </a:schemeClr>
              </a:solidFill>
              <a:sym typeface="Calibri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/>
                </a:solidFill>
              </a:rPr>
              <a:t>Uniqueness of Solution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t>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© 2019-2020 </a:t>
            </a:r>
            <a:r>
              <a:rPr lang="en-IN" smtClean="0"/>
              <a:t>Sterlite Technologies Limited</a:t>
            </a:r>
            <a:endParaRPr lang="en-US" dirty="0"/>
          </a:p>
        </p:txBody>
      </p:sp>
      <p:sp>
        <p:nvSpPr>
          <p:cNvPr id="7" name="Rectangle: Rounded Corners 1">
            <a:extLst>
              <a:ext uri="{FF2B5EF4-FFF2-40B4-BE49-F238E27FC236}">
                <a16:creationId xmlns:a16="http://schemas.microsoft.com/office/drawing/2014/main" xmlns="" id="{697193E9-089F-1048-ACED-23DB2A1C272F}"/>
              </a:ext>
            </a:extLst>
          </p:cNvPr>
          <p:cNvSpPr/>
          <p:nvPr/>
        </p:nvSpPr>
        <p:spPr>
          <a:xfrm>
            <a:off x="346364" y="3118301"/>
            <a:ext cx="2923309" cy="1338482"/>
          </a:xfrm>
          <a:prstGeom prst="roundRect">
            <a:avLst>
              <a:gd name="adj" fmla="val 10887"/>
            </a:avLst>
          </a:prstGeom>
          <a:solidFill>
            <a:srgbClr val="F8F8F8">
              <a:alpha val="80000"/>
            </a:srgbClr>
          </a:solidFill>
          <a:ln w="12700" cap="flat">
            <a:noFill/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indent="-285750" hangingPunct="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IN" sz="2400" dirty="0">
              <a:solidFill>
                <a:schemeClr val="tx1">
                  <a:lumMod val="75000"/>
                  <a:lumOff val="25000"/>
                </a:schemeClr>
              </a:solidFill>
              <a:sym typeface="Calibri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80761" y="3350739"/>
            <a:ext cx="2640661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400" b="1" i="0" u="none" strike="noStrike" cap="none" spc="0" normalizeH="0" baseline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Integrated</a:t>
            </a:r>
            <a:r>
              <a:rPr kumimoji="0" lang="en-US" sz="2400" b="1" i="0" u="none" strike="noStrike" cap="none" spc="0" normalizeH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 Border 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400" b="1" i="0" u="none" strike="noStrike" cap="none" spc="0" normalizeH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Security System</a:t>
            </a:r>
            <a:endParaRPr kumimoji="0" lang="en-US" sz="2400" b="1" i="0" u="none" strike="noStrike" cap="none" spc="0" normalizeH="0" baseline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5" name="Rectangle: Rounded Corners 1">
            <a:extLst>
              <a:ext uri="{FF2B5EF4-FFF2-40B4-BE49-F238E27FC236}">
                <a16:creationId xmlns:a16="http://schemas.microsoft.com/office/drawing/2014/main" xmlns="" id="{697193E9-089F-1048-ACED-23DB2A1C272F}"/>
              </a:ext>
            </a:extLst>
          </p:cNvPr>
          <p:cNvSpPr/>
          <p:nvPr/>
        </p:nvSpPr>
        <p:spPr>
          <a:xfrm>
            <a:off x="3537110" y="1127292"/>
            <a:ext cx="2923309" cy="5591150"/>
          </a:xfrm>
          <a:prstGeom prst="roundRect">
            <a:avLst>
              <a:gd name="adj" fmla="val 10887"/>
            </a:avLst>
          </a:prstGeom>
          <a:solidFill>
            <a:srgbClr val="F8F8F8">
              <a:alpha val="80000"/>
            </a:srgbClr>
          </a:solidFill>
          <a:ln w="12700" cap="flat">
            <a:noFill/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R="0" indent="-285750" fontAlgn="auto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IN" sz="2400" dirty="0">
                <a:solidFill>
                  <a:schemeClr val="tx1">
                    <a:lumMod val="75000"/>
                    <a:lumOff val="25000"/>
                  </a:schemeClr>
                </a:solidFill>
                <a:sym typeface="Calibri"/>
              </a:rPr>
              <a:t>End to end</a:t>
            </a:r>
          </a:p>
          <a:p>
            <a:pPr marR="0" indent="-285750" fontAlgn="auto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IN" sz="2400" dirty="0">
                <a:solidFill>
                  <a:schemeClr val="tx1">
                    <a:lumMod val="75000"/>
                    <a:lumOff val="25000"/>
                  </a:schemeClr>
                </a:solidFill>
                <a:sym typeface="Calibri"/>
              </a:rPr>
              <a:t>Sustainable</a:t>
            </a:r>
          </a:p>
          <a:p>
            <a:pPr marR="0" indent="-285750" fontAlgn="auto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IN" sz="2400" dirty="0">
                <a:solidFill>
                  <a:schemeClr val="tx1">
                    <a:lumMod val="75000"/>
                    <a:lumOff val="25000"/>
                  </a:schemeClr>
                </a:solidFill>
                <a:sym typeface="Calibri"/>
              </a:rPr>
              <a:t>Flexible</a:t>
            </a:r>
          </a:p>
          <a:p>
            <a:pPr marR="0" indent="-285750" fontAlgn="auto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IN" sz="2400" dirty="0">
                <a:solidFill>
                  <a:schemeClr val="tx1">
                    <a:lumMod val="75000"/>
                    <a:lumOff val="25000"/>
                  </a:schemeClr>
                </a:solidFill>
                <a:sym typeface="Calibri"/>
              </a:rPr>
              <a:t>Rugged</a:t>
            </a:r>
          </a:p>
          <a:p>
            <a:pPr marR="0" indent="-285750" fontAlgn="auto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IN" sz="2400" dirty="0">
                <a:solidFill>
                  <a:schemeClr val="tx1">
                    <a:lumMod val="75000"/>
                    <a:lumOff val="25000"/>
                  </a:schemeClr>
                </a:solidFill>
                <a:sym typeface="Calibri"/>
              </a:rPr>
              <a:t>Optimised</a:t>
            </a:r>
          </a:p>
          <a:p>
            <a:pPr marR="0" indent="-285750" fontAlgn="auto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IN" sz="2400" dirty="0">
                <a:solidFill>
                  <a:schemeClr val="tx1">
                    <a:lumMod val="75000"/>
                    <a:lumOff val="25000"/>
                  </a:schemeClr>
                </a:solidFill>
                <a:sym typeface="Calibri"/>
              </a:rPr>
              <a:t>Innovative</a:t>
            </a:r>
          </a:p>
          <a:p>
            <a:pPr marR="0" indent="-285750" fontAlgn="auto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IN" sz="2400" dirty="0">
                <a:solidFill>
                  <a:schemeClr val="tx1">
                    <a:lumMod val="75000"/>
                    <a:lumOff val="25000"/>
                  </a:schemeClr>
                </a:solidFill>
                <a:sym typeface="Calibri"/>
              </a:rPr>
              <a:t>Seamless backhaul</a:t>
            </a:r>
          </a:p>
          <a:p>
            <a:pPr marR="0" indent="-285750" fontAlgn="auto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IN" sz="2400" dirty="0">
                <a:solidFill>
                  <a:schemeClr val="tx1">
                    <a:lumMod val="75000"/>
                    <a:lumOff val="25000"/>
                  </a:schemeClr>
                </a:solidFill>
                <a:sym typeface="Calibri"/>
              </a:rPr>
              <a:t>For all terrains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6930736" y="1338723"/>
            <a:ext cx="7003474" cy="5232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800" b="1" i="0" u="none" strike="noStrike" cap="none" spc="0" normalizeH="0" baseline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Photo sensor</a:t>
            </a:r>
            <a:r>
              <a:rPr kumimoji="0" lang="en-US" sz="2800" b="1" i="0" u="none" strike="noStrike" cap="none" spc="0" normalizeH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 with LTE backhaul</a:t>
            </a:r>
            <a:endParaRPr kumimoji="0" lang="en-US" sz="2800" b="1" i="0" u="none" strike="noStrike" cap="none" spc="0" normalizeH="0" baseline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6948396" y="4727571"/>
            <a:ext cx="4882253" cy="95410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algn="ctr" hangingPunct="0"/>
            <a:r>
              <a: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sym typeface="Calibri"/>
              </a:rPr>
              <a:t>Underground sensing &amp; camera </a:t>
            </a:r>
            <a:endParaRPr lang="en-US" sz="2800" b="1" dirty="0" smtClean="0">
              <a:solidFill>
                <a:schemeClr val="tx1">
                  <a:lumMod val="75000"/>
                  <a:lumOff val="25000"/>
                </a:schemeClr>
              </a:solidFill>
              <a:sym typeface="Calibri"/>
            </a:endParaRPr>
          </a:p>
          <a:p>
            <a:pPr algn="ctr" hangingPunct="0"/>
            <a:r>
              <a:rPr lang="en-US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sym typeface="Calibri"/>
              </a:rPr>
              <a:t>with </a:t>
            </a:r>
            <a:r>
              <a: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sym typeface="Calibri"/>
              </a:rPr>
              <a:t>LTE backhaul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6727856" y="2028015"/>
            <a:ext cx="3704617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285750" marR="0" indent="-28575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6727856" y="1719694"/>
            <a:ext cx="4203380" cy="10156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indent="-285750" hangingPunct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sym typeface="Calibri"/>
              </a:rPr>
              <a:t>Battery powered</a:t>
            </a:r>
          </a:p>
          <a:p>
            <a:pPr indent="-285750" hangingPunct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sym typeface="Calibri"/>
              </a:rPr>
              <a:t>Installation in less than 2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sym typeface="Calibri"/>
              </a:rPr>
              <a:t>minutes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sym typeface="Calibri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6727856" y="5460443"/>
            <a:ext cx="3704617" cy="10156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indent="-285750" hangingPunct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sym typeface="Calibri"/>
              </a:rPr>
              <a:t>Battery powered</a:t>
            </a:r>
          </a:p>
          <a:p>
            <a:pPr indent="-285750" hangingPunct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sym typeface="Calibri"/>
              </a:rPr>
              <a:t>Underground installation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7459935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© 2019-2020 </a:t>
            </a:r>
            <a:r>
              <a:rPr lang="en-IN" smtClean="0"/>
              <a:t>Sterlite Technologies Limited</a:t>
            </a:r>
            <a:endParaRPr lang="en-US" dirty="0"/>
          </a:p>
        </p:txBody>
      </p:sp>
      <p:sp>
        <p:nvSpPr>
          <p:cNvPr id="8" name="Rectangle: Rounded Corners 1">
            <a:extLst>
              <a:ext uri="{FF2B5EF4-FFF2-40B4-BE49-F238E27FC236}">
                <a16:creationId xmlns:a16="http://schemas.microsoft.com/office/drawing/2014/main" xmlns="" id="{697193E9-089F-1048-ACED-23DB2A1C272F}"/>
              </a:ext>
            </a:extLst>
          </p:cNvPr>
          <p:cNvSpPr/>
          <p:nvPr/>
        </p:nvSpPr>
        <p:spPr>
          <a:xfrm>
            <a:off x="166255" y="199373"/>
            <a:ext cx="2923309" cy="1338482"/>
          </a:xfrm>
          <a:prstGeom prst="roundRect">
            <a:avLst>
              <a:gd name="adj" fmla="val 10887"/>
            </a:avLst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>
            <a:outerShdw blurRad="190500" sx="102000" sy="102000" algn="ctr" rotWithShape="0">
              <a:prstClr val="black">
                <a:alpha val="5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IN" sz="16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31377" y="431811"/>
            <a:ext cx="2788912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400" b="1" i="0" u="none" strike="noStrike" cap="none" spc="0" normalizeH="0" baseline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Integrated</a:t>
            </a:r>
            <a:r>
              <a:rPr kumimoji="0" lang="en-US" sz="2400" b="1" i="0" u="none" strike="noStrike" cap="none" spc="0" normalizeH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 Perimeter 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400" b="1" i="0" u="none" strike="noStrike" cap="none" spc="0" normalizeH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Security System</a:t>
            </a:r>
            <a:endParaRPr kumimoji="0" lang="en-US" sz="2400" b="1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1413165" y="637310"/>
            <a:ext cx="9508012" cy="5928758"/>
            <a:chOff x="1738265" y="1502876"/>
            <a:chExt cx="8966247" cy="5088048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0074" t="9735" r="20775" b="21270"/>
            <a:stretch/>
          </p:blipFill>
          <p:spPr>
            <a:xfrm>
              <a:off x="2255438" y="1502876"/>
              <a:ext cx="8449074" cy="5088048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xmlns="" id="{FE839154-24D6-A542-90DA-F059BE86661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biLevel thresh="25000"/>
            </a:blip>
            <a:stretch>
              <a:fillRect/>
            </a:stretch>
          </p:blipFill>
          <p:spPr>
            <a:xfrm>
              <a:off x="3254521" y="3467100"/>
              <a:ext cx="4315133" cy="2430361"/>
            </a:xfrm>
            <a:prstGeom prst="rect">
              <a:avLst/>
            </a:prstGeom>
          </p:spPr>
        </p:pic>
        <p:sp>
          <p:nvSpPr>
            <p:cNvPr id="11" name="TextBox 10"/>
            <p:cNvSpPr txBox="1"/>
            <p:nvPr/>
          </p:nvSpPr>
          <p:spPr>
            <a:xfrm>
              <a:off x="8212865" y="6259810"/>
              <a:ext cx="1130312" cy="2948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1100" b="1" dirty="0">
                  <a:solidFill>
                    <a:srgbClr val="6441C3"/>
                  </a:solidFill>
                </a:rPr>
                <a:t>INTEGRATION OF POWER FENCING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3041965" y="4950578"/>
              <a:ext cx="1481506" cy="31854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US" sz="1100" b="1" dirty="0">
                  <a:solidFill>
                    <a:srgbClr val="6441C3"/>
                  </a:solidFill>
                </a:rPr>
                <a:t>Y BEAMS &amp; CONCERTINA COILS ON PERIMETER WALL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1738265" y="4081600"/>
              <a:ext cx="1095470" cy="2912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US" sz="1100" b="1" dirty="0">
                  <a:solidFill>
                    <a:srgbClr val="6441C3"/>
                  </a:solidFill>
                </a:rPr>
                <a:t>FIBRE OPTIC FENCE SENSOR CABLE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2565138" y="2381061"/>
              <a:ext cx="1219212" cy="2625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1100" b="1" dirty="0">
                  <a:solidFill>
                    <a:srgbClr val="6441C3"/>
                  </a:solidFill>
                </a:rPr>
                <a:t>DIDS WITH FOCUSED SPOT LIGHT &amp; CAMERA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5845465" y="6266901"/>
              <a:ext cx="870827" cy="27347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US" sz="1100" b="1" dirty="0">
                  <a:solidFill>
                    <a:srgbClr val="6441C3"/>
                  </a:solidFill>
                </a:rPr>
                <a:t>MOBILE BULLET SENTRY POST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8843039" y="5784608"/>
              <a:ext cx="1712374" cy="24783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1100" b="1" dirty="0">
                  <a:solidFill>
                    <a:srgbClr val="6441C3"/>
                  </a:solidFill>
                </a:rPr>
                <a:t>VEHICLE SANITIZATION UVSS,SLIDING GATES, BOLLARDS &amp; TYRE SHREDDERS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3897291" y="1958836"/>
              <a:ext cx="1009687" cy="38199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1100" b="1" dirty="0">
                  <a:solidFill>
                    <a:srgbClr val="6441C3"/>
                  </a:solidFill>
                </a:rPr>
                <a:t>PERIMETER LIGHT &amp; CAMERAS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6823155" y="2277555"/>
              <a:ext cx="1819532" cy="40227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1100" b="1" dirty="0">
                  <a:solidFill>
                    <a:srgbClr val="6441C3"/>
                  </a:solidFill>
                </a:rPr>
                <a:t>PEDESTRIAN SANITIZATION METAL DETECTORS </a:t>
              </a:r>
              <a:r>
                <a:rPr lang="mr-IN" sz="1100" b="1" dirty="0">
                  <a:solidFill>
                    <a:srgbClr val="6441C3"/>
                  </a:solidFill>
                </a:rPr>
                <a:t>–</a:t>
              </a:r>
              <a:r>
                <a:rPr lang="en-US" sz="1100" b="1" dirty="0">
                  <a:solidFill>
                    <a:srgbClr val="6441C3"/>
                  </a:solidFill>
                </a:rPr>
                <a:t> DOOR FRAME &amp; HANDHELD, BAGGAGE SCANNER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9360014" y="3855265"/>
              <a:ext cx="909000" cy="12007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1100" b="1" dirty="0">
                  <a:solidFill>
                    <a:srgbClr val="6441C3"/>
                  </a:solidFill>
                </a:rPr>
                <a:t>MOBILE CCC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8238616" y="3330274"/>
              <a:ext cx="1511966" cy="27365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1100" b="1" dirty="0">
                  <a:solidFill>
                    <a:srgbClr val="6441C3"/>
                  </a:solidFill>
                </a:rPr>
                <a:t>ANTI CLIMB FENCE, CONCERTINA COIL, Y BEAMS</a:t>
              </a:r>
            </a:p>
          </p:txBody>
        </p:sp>
        <p:cxnSp>
          <p:nvCxnSpPr>
            <p:cNvPr id="21" name="Straight Arrow Connector 20"/>
            <p:cNvCxnSpPr>
              <a:cxnSpLocks/>
            </p:cNvCxnSpPr>
            <p:nvPr/>
          </p:nvCxnSpPr>
          <p:spPr>
            <a:xfrm flipH="1">
              <a:off x="8154976" y="6055358"/>
              <a:ext cx="1" cy="421642"/>
            </a:xfrm>
            <a:prstGeom prst="straightConnector1">
              <a:avLst/>
            </a:prstGeom>
            <a:ln>
              <a:solidFill>
                <a:schemeClr val="bg1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>
              <a:cxnSpLocks/>
            </p:cNvCxnSpPr>
            <p:nvPr/>
          </p:nvCxnSpPr>
          <p:spPr>
            <a:xfrm flipH="1">
              <a:off x="8694417" y="5305170"/>
              <a:ext cx="1" cy="878347"/>
            </a:xfrm>
            <a:prstGeom prst="straightConnector1">
              <a:avLst/>
            </a:prstGeom>
            <a:ln>
              <a:solidFill>
                <a:srgbClr val="FF5B9D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>
              <a:cxnSpLocks/>
            </p:cNvCxnSpPr>
            <p:nvPr/>
          </p:nvCxnSpPr>
          <p:spPr>
            <a:xfrm flipH="1">
              <a:off x="6743394" y="5864484"/>
              <a:ext cx="1" cy="612516"/>
            </a:xfrm>
            <a:prstGeom prst="straightConnector1">
              <a:avLst/>
            </a:prstGeom>
            <a:ln>
              <a:solidFill>
                <a:srgbClr val="FF5B9D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>
              <a:cxnSpLocks/>
            </p:cNvCxnSpPr>
            <p:nvPr/>
          </p:nvCxnSpPr>
          <p:spPr>
            <a:xfrm flipH="1">
              <a:off x="4589476" y="4647355"/>
              <a:ext cx="1" cy="558388"/>
            </a:xfrm>
            <a:prstGeom prst="straightConnector1">
              <a:avLst/>
            </a:prstGeom>
            <a:ln>
              <a:solidFill>
                <a:srgbClr val="FF5B9D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/>
            <p:cNvCxnSpPr>
              <a:cxnSpLocks/>
            </p:cNvCxnSpPr>
            <p:nvPr/>
          </p:nvCxnSpPr>
          <p:spPr>
            <a:xfrm flipH="1">
              <a:off x="2890320" y="3632070"/>
              <a:ext cx="1" cy="686433"/>
            </a:xfrm>
            <a:prstGeom prst="straightConnector1">
              <a:avLst/>
            </a:prstGeom>
            <a:ln>
              <a:solidFill>
                <a:srgbClr val="FF5B9D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Arrow Connector 25"/>
            <p:cNvCxnSpPr>
              <a:cxnSpLocks/>
            </p:cNvCxnSpPr>
            <p:nvPr/>
          </p:nvCxnSpPr>
          <p:spPr>
            <a:xfrm>
              <a:off x="6774320" y="2353901"/>
              <a:ext cx="1" cy="1014792"/>
            </a:xfrm>
            <a:prstGeom prst="straightConnector1">
              <a:avLst/>
            </a:prstGeom>
            <a:ln>
              <a:solidFill>
                <a:srgbClr val="FF5B9D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Arrow Connector 26"/>
            <p:cNvCxnSpPr>
              <a:cxnSpLocks/>
            </p:cNvCxnSpPr>
            <p:nvPr/>
          </p:nvCxnSpPr>
          <p:spPr>
            <a:xfrm>
              <a:off x="8156882" y="3376943"/>
              <a:ext cx="0" cy="1023512"/>
            </a:xfrm>
            <a:prstGeom prst="straightConnector1">
              <a:avLst/>
            </a:prstGeom>
            <a:ln>
              <a:solidFill>
                <a:srgbClr val="FF5B9D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8" name="Picture 2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flipH="1">
              <a:off x="9069440" y="4751892"/>
              <a:ext cx="423174" cy="290457"/>
            </a:xfrm>
            <a:prstGeom prst="rect">
              <a:avLst/>
            </a:prstGeom>
          </p:spPr>
        </p:pic>
        <p:cxnSp>
          <p:nvCxnSpPr>
            <p:cNvPr id="29" name="Straight Arrow Connector 28"/>
            <p:cNvCxnSpPr>
              <a:cxnSpLocks/>
            </p:cNvCxnSpPr>
            <p:nvPr/>
          </p:nvCxnSpPr>
          <p:spPr>
            <a:xfrm flipH="1">
              <a:off x="9301785" y="3886599"/>
              <a:ext cx="1" cy="797617"/>
            </a:xfrm>
            <a:prstGeom prst="straightConnector1">
              <a:avLst/>
            </a:prstGeom>
            <a:ln>
              <a:solidFill>
                <a:srgbClr val="FF5B9D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Box 29"/>
            <p:cNvSpPr txBox="1"/>
            <p:nvPr/>
          </p:nvSpPr>
          <p:spPr>
            <a:xfrm>
              <a:off x="7762062" y="2696195"/>
              <a:ext cx="1617470" cy="5177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1100" b="1" dirty="0">
                  <a:solidFill>
                    <a:srgbClr val="6441C3"/>
                  </a:solidFill>
                </a:rPr>
                <a:t>MICRO-UAV</a:t>
              </a:r>
            </a:p>
            <a:p>
              <a:r>
                <a:rPr lang="en-US" sz="1100" b="1" dirty="0">
                  <a:solidFill>
                    <a:srgbClr val="6441C3"/>
                  </a:solidFill>
                </a:rPr>
                <a:t>PROTECTIVE GEAR</a:t>
              </a:r>
            </a:p>
            <a:p>
              <a:r>
                <a:rPr lang="en-US" sz="1100" b="1" dirty="0">
                  <a:solidFill>
                    <a:srgbClr val="6441C3"/>
                  </a:solidFill>
                </a:rPr>
                <a:t>V/UHF COMM SET</a:t>
              </a:r>
            </a:p>
            <a:p>
              <a:r>
                <a:rPr lang="en-US" sz="1100" b="1" dirty="0">
                  <a:solidFill>
                    <a:srgbClr val="6441C3"/>
                  </a:solidFill>
                </a:rPr>
                <a:t>RUGGEDISED TABS</a:t>
              </a:r>
            </a:p>
          </p:txBody>
        </p:sp>
        <p:cxnSp>
          <p:nvCxnSpPr>
            <p:cNvPr id="31" name="Straight Arrow Connector 30"/>
            <p:cNvCxnSpPr>
              <a:cxnSpLocks/>
            </p:cNvCxnSpPr>
            <p:nvPr/>
          </p:nvCxnSpPr>
          <p:spPr>
            <a:xfrm>
              <a:off x="7702917" y="2725093"/>
              <a:ext cx="1" cy="1220757"/>
            </a:xfrm>
            <a:prstGeom prst="straightConnector1">
              <a:avLst/>
            </a:prstGeom>
            <a:ln>
              <a:solidFill>
                <a:srgbClr val="FF5B9D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xmlns="" id="{8D9CE435-A864-8147-A5F4-CC8B1A0EECAC}"/>
                </a:ext>
              </a:extLst>
            </p:cNvPr>
            <p:cNvSpPr txBox="1"/>
            <p:nvPr/>
          </p:nvSpPr>
          <p:spPr>
            <a:xfrm>
              <a:off x="6479975" y="1833728"/>
              <a:ext cx="1758001" cy="14877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1100" b="1" dirty="0">
                  <a:solidFill>
                    <a:srgbClr val="6441C3"/>
                  </a:solidFill>
                </a:rPr>
                <a:t>VISITOR MANAGEMENT SYSTEMS</a:t>
              </a:r>
            </a:p>
          </p:txBody>
        </p:sp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xmlns="" id="{04C4E657-CD89-8B4D-9C07-4E9F8D93CBE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437081" y="1899164"/>
              <a:ext cx="1" cy="1226344"/>
            </a:xfrm>
            <a:prstGeom prst="straightConnector1">
              <a:avLst/>
            </a:prstGeom>
            <a:ln>
              <a:solidFill>
                <a:srgbClr val="FF5B9D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xmlns="" id="{0998D763-DF6C-BD4E-8CDB-52631637D013}"/>
                </a:ext>
              </a:extLst>
            </p:cNvPr>
            <p:cNvSpPr txBox="1"/>
            <p:nvPr/>
          </p:nvSpPr>
          <p:spPr>
            <a:xfrm>
              <a:off x="4605555" y="5521228"/>
              <a:ext cx="1136407" cy="31854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US" sz="1100" b="1" dirty="0">
                  <a:solidFill>
                    <a:srgbClr val="6441C3"/>
                  </a:solidFill>
                </a:rPr>
                <a:t>GROUND LAID CONCERTINA</a:t>
              </a:r>
            </a:p>
          </p:txBody>
        </p:sp>
        <p:cxnSp>
          <p:nvCxnSpPr>
            <p:cNvPr id="35" name="Straight Arrow Connector 34">
              <a:extLst>
                <a:ext uri="{FF2B5EF4-FFF2-40B4-BE49-F238E27FC236}">
                  <a16:creationId xmlns:a16="http://schemas.microsoft.com/office/drawing/2014/main" xmlns="" id="{45C166D8-1866-5049-9208-610CFABB5B2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9" y="4941168"/>
              <a:ext cx="1" cy="813680"/>
            </a:xfrm>
            <a:prstGeom prst="straightConnector1">
              <a:avLst/>
            </a:prstGeom>
            <a:ln>
              <a:solidFill>
                <a:srgbClr val="FF5B9D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xmlns="" id="{C15131A8-3B11-EA42-96CA-1A9E8790F67E}"/>
                </a:ext>
              </a:extLst>
            </p:cNvPr>
            <p:cNvSpPr txBox="1"/>
            <p:nvPr/>
          </p:nvSpPr>
          <p:spPr>
            <a:xfrm>
              <a:off x="6828639" y="6266901"/>
              <a:ext cx="536403" cy="27347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US" sz="1100" b="1" dirty="0">
                  <a:solidFill>
                    <a:srgbClr val="6441C3"/>
                  </a:solidFill>
                </a:rPr>
                <a:t>GATE </a:t>
              </a:r>
              <a:br>
                <a:rPr lang="en-US" sz="1100" b="1" dirty="0">
                  <a:solidFill>
                    <a:srgbClr val="6441C3"/>
                  </a:solidFill>
                </a:rPr>
              </a:br>
              <a:r>
                <a:rPr lang="en-US" sz="1100" b="1" dirty="0">
                  <a:solidFill>
                    <a:srgbClr val="6441C3"/>
                  </a:solidFill>
                </a:rPr>
                <a:t>WITH RFID </a:t>
              </a:r>
            </a:p>
          </p:txBody>
        </p:sp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xmlns="" id="{94394E23-CD6B-2545-A0CA-99F2A346E54D}"/>
                </a:ext>
              </a:extLst>
            </p:cNvPr>
            <p:cNvCxnSpPr>
              <a:cxnSpLocks/>
            </p:cNvCxnSpPr>
            <p:nvPr/>
          </p:nvCxnSpPr>
          <p:spPr>
            <a:xfrm>
              <a:off x="7392144" y="5461233"/>
              <a:ext cx="1" cy="1015767"/>
            </a:xfrm>
            <a:prstGeom prst="straightConnector1">
              <a:avLst/>
            </a:prstGeom>
            <a:ln>
              <a:solidFill>
                <a:srgbClr val="FF5B9D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xmlns="" id="{993BF741-E95E-1E47-988F-E42484EB0E4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755078" y="3629833"/>
              <a:ext cx="3" cy="1105338"/>
            </a:xfrm>
            <a:prstGeom prst="straightConnector1">
              <a:avLst/>
            </a:prstGeom>
            <a:ln>
              <a:solidFill>
                <a:srgbClr val="FF5B9D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5282292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Image result for security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1" b="14986"/>
          <a:stretch/>
        </p:blipFill>
        <p:spPr bwMode="auto">
          <a:xfrm>
            <a:off x="1" y="0"/>
            <a:ext cx="12191999" cy="6913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/>
                </a:solidFill>
              </a:rPr>
              <a:t>Uniqueness of Solution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t>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© 2019-2020 </a:t>
            </a:r>
            <a:r>
              <a:rPr lang="en-IN" smtClean="0"/>
              <a:t>Sterlite Technologies Limited</a:t>
            </a:r>
            <a:endParaRPr lang="en-US" dirty="0"/>
          </a:p>
        </p:txBody>
      </p:sp>
      <p:sp>
        <p:nvSpPr>
          <p:cNvPr id="25" name="Rectangle: Rounded Corners 1">
            <a:extLst>
              <a:ext uri="{FF2B5EF4-FFF2-40B4-BE49-F238E27FC236}">
                <a16:creationId xmlns:a16="http://schemas.microsoft.com/office/drawing/2014/main" xmlns="" id="{697193E9-089F-1048-ACED-23DB2A1C272F}"/>
              </a:ext>
            </a:extLst>
          </p:cNvPr>
          <p:cNvSpPr/>
          <p:nvPr/>
        </p:nvSpPr>
        <p:spPr>
          <a:xfrm>
            <a:off x="3537110" y="1127292"/>
            <a:ext cx="2923309" cy="5591150"/>
          </a:xfrm>
          <a:prstGeom prst="roundRect">
            <a:avLst>
              <a:gd name="adj" fmla="val 10887"/>
            </a:avLst>
          </a:prstGeom>
          <a:solidFill>
            <a:srgbClr val="F8F8F8">
              <a:alpha val="74902"/>
            </a:srgbClr>
          </a:solidFill>
          <a:ln w="12700" cap="flat">
            <a:noFill/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indent="-285750" hangingPunct="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IN" sz="2400" dirty="0">
                <a:solidFill>
                  <a:schemeClr val="tx1">
                    <a:lumMod val="75000"/>
                    <a:lumOff val="25000"/>
                  </a:schemeClr>
                </a:solidFill>
                <a:sym typeface="Calibri"/>
              </a:rPr>
              <a:t>End to end</a:t>
            </a:r>
          </a:p>
          <a:p>
            <a:pPr indent="-285750" hangingPunct="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IN" sz="2400" dirty="0">
                <a:solidFill>
                  <a:schemeClr val="tx1">
                    <a:lumMod val="75000"/>
                    <a:lumOff val="25000"/>
                  </a:schemeClr>
                </a:solidFill>
                <a:sym typeface="Calibri"/>
              </a:rPr>
              <a:t>Sustainable</a:t>
            </a:r>
          </a:p>
          <a:p>
            <a:pPr indent="-285750" hangingPunct="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IN" sz="2400" dirty="0">
                <a:solidFill>
                  <a:schemeClr val="tx1">
                    <a:lumMod val="75000"/>
                    <a:lumOff val="25000"/>
                  </a:schemeClr>
                </a:solidFill>
                <a:sym typeface="Calibri"/>
              </a:rPr>
              <a:t>Flexible</a:t>
            </a:r>
          </a:p>
          <a:p>
            <a:pPr indent="-285750" hangingPunct="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IN" sz="2400" dirty="0">
                <a:solidFill>
                  <a:schemeClr val="tx1">
                    <a:lumMod val="75000"/>
                    <a:lumOff val="25000"/>
                  </a:schemeClr>
                </a:solidFill>
                <a:sym typeface="Calibri"/>
              </a:rPr>
              <a:t>Rugged</a:t>
            </a:r>
          </a:p>
          <a:p>
            <a:pPr indent="-285750" hangingPunct="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IN" sz="2400" dirty="0">
                <a:solidFill>
                  <a:schemeClr val="tx1">
                    <a:lumMod val="75000"/>
                    <a:lumOff val="25000"/>
                  </a:schemeClr>
                </a:solidFill>
                <a:sym typeface="Calibri"/>
              </a:rPr>
              <a:t>Optimised</a:t>
            </a:r>
          </a:p>
          <a:p>
            <a:pPr indent="-285750" hangingPunct="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IN" sz="2400" dirty="0">
                <a:solidFill>
                  <a:schemeClr val="tx1">
                    <a:lumMod val="75000"/>
                    <a:lumOff val="25000"/>
                  </a:schemeClr>
                </a:solidFill>
                <a:sym typeface="Calibri"/>
              </a:rPr>
              <a:t>Innovative</a:t>
            </a:r>
          </a:p>
          <a:p>
            <a:pPr indent="-285750" hangingPunct="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IN" sz="2400" dirty="0">
                <a:solidFill>
                  <a:schemeClr val="tx1">
                    <a:lumMod val="75000"/>
                    <a:lumOff val="25000"/>
                  </a:schemeClr>
                </a:solidFill>
                <a:sym typeface="Calibri"/>
              </a:rPr>
              <a:t>Seamless backhaul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6727856" y="2028015"/>
            <a:ext cx="3704617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285750" marR="0" indent="-28575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7" name="Rectangle: Rounded Corners 1">
            <a:extLst>
              <a:ext uri="{FF2B5EF4-FFF2-40B4-BE49-F238E27FC236}">
                <a16:creationId xmlns:a16="http://schemas.microsoft.com/office/drawing/2014/main" xmlns="" id="{697193E9-089F-1048-ACED-23DB2A1C272F}"/>
              </a:ext>
            </a:extLst>
          </p:cNvPr>
          <p:cNvSpPr/>
          <p:nvPr/>
        </p:nvSpPr>
        <p:spPr>
          <a:xfrm>
            <a:off x="346364" y="3118301"/>
            <a:ext cx="2923309" cy="1338482"/>
          </a:xfrm>
          <a:prstGeom prst="roundRect">
            <a:avLst>
              <a:gd name="adj" fmla="val 10887"/>
            </a:avLst>
          </a:prstGeom>
          <a:solidFill>
            <a:srgbClr val="F8F8F8">
              <a:alpha val="74902"/>
            </a:srgbClr>
          </a:solidFill>
          <a:ln w="12700" cap="flat">
            <a:noFill/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indent="-285750" hangingPunct="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IN" sz="2400" dirty="0">
              <a:solidFill>
                <a:schemeClr val="tx1">
                  <a:lumMod val="75000"/>
                  <a:lumOff val="25000"/>
                </a:schemeClr>
              </a:solidFill>
              <a:sym typeface="Calibri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46364" y="3350739"/>
            <a:ext cx="2923309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400" b="1" i="0" u="none" strike="noStrike" cap="none" spc="0" normalizeH="0" baseline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Integrated</a:t>
            </a:r>
            <a:r>
              <a:rPr kumimoji="0" lang="en-US" sz="2400" b="1" i="0" u="none" strike="noStrike" cap="none" spc="0" normalizeH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 Perimeter 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400" b="1" i="0" u="none" strike="noStrike" cap="none" spc="0" normalizeH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Security System</a:t>
            </a:r>
            <a:endParaRPr kumimoji="0" lang="en-US" sz="2400" b="1" i="0" u="none" strike="noStrike" cap="none" spc="0" normalizeH="0" baseline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4766694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© 2019-2020 </a:t>
            </a:r>
            <a:r>
              <a:rPr lang="en-IN" smtClean="0"/>
              <a:t>Sterlite Technologies Limited</a:t>
            </a:r>
            <a:endParaRPr lang="en-US" dirty="0"/>
          </a:p>
        </p:txBody>
      </p:sp>
      <p:sp>
        <p:nvSpPr>
          <p:cNvPr id="17" name="Slide Number Placeholder 3"/>
          <p:cNvSpPr>
            <a:spLocks noGrp="1"/>
          </p:cNvSpPr>
          <p:nvPr>
            <p:ph type="sldNum" sz="quarter" idx="2"/>
          </p:nvPr>
        </p:nvSpPr>
        <p:spPr>
          <a:xfrm>
            <a:off x="11924168" y="6896541"/>
            <a:ext cx="245751" cy="225709"/>
          </a:xfrm>
        </p:spPr>
        <p:txBody>
          <a:bodyPr/>
          <a:lstStyle/>
          <a:p>
            <a:fld id="{86CB4B4D-7CA3-9044-876B-883B54F8677D}" type="slidenum">
              <a:rPr lang="en-IN" smtClean="0"/>
              <a:t>23</a:t>
            </a:fld>
            <a:endParaRPr lang="en-IN"/>
          </a:p>
        </p:txBody>
      </p:sp>
      <p:sp>
        <p:nvSpPr>
          <p:cNvPr id="18" name="Title 5"/>
          <p:cNvSpPr txBox="1">
            <a:spLocks/>
          </p:cNvSpPr>
          <p:nvPr/>
        </p:nvSpPr>
        <p:spPr>
          <a:xfrm>
            <a:off x="4056133" y="950017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R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2pPr>
            <a:lvl3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3pPr>
            <a:lvl4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4pPr>
            <a:lvl5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5pPr>
            <a:lvl6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6pPr>
            <a:lvl7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7pPr>
            <a:lvl8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8pPr>
            <a:lvl9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9pPr>
          </a:lstStyle>
          <a:p>
            <a:r>
              <a:rPr lang="en-IN" dirty="0"/>
              <a:t>About Us</a:t>
            </a:r>
          </a:p>
        </p:txBody>
      </p:sp>
      <p:sp>
        <p:nvSpPr>
          <p:cNvPr id="19" name="Title 5"/>
          <p:cNvSpPr txBox="1">
            <a:spLocks/>
          </p:cNvSpPr>
          <p:nvPr/>
        </p:nvSpPr>
        <p:spPr>
          <a:xfrm>
            <a:off x="4833430" y="4269410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R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kern="0" cap="none" spc="0" baseline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2pPr>
            <a:lvl3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3pPr>
            <a:lvl4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4pPr>
            <a:lvl5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5pPr>
            <a:lvl6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6pPr>
            <a:lvl7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7pPr>
            <a:lvl8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8pPr>
            <a:lvl9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9pPr>
          </a:lstStyle>
          <a:p>
            <a:r>
              <a:rPr lang="en-US" dirty="0"/>
              <a:t>STL has the KEY</a:t>
            </a:r>
            <a:endParaRPr lang="en-IN" dirty="0"/>
          </a:p>
        </p:txBody>
      </p:sp>
      <p:sp>
        <p:nvSpPr>
          <p:cNvPr id="20" name="Title 5"/>
          <p:cNvSpPr txBox="1">
            <a:spLocks/>
          </p:cNvSpPr>
          <p:nvPr/>
        </p:nvSpPr>
        <p:spPr>
          <a:xfrm>
            <a:off x="5262920" y="3788917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endParaRPr lang="en-IN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1" name="Title 5"/>
          <p:cNvSpPr txBox="1">
            <a:spLocks/>
          </p:cNvSpPr>
          <p:nvPr/>
        </p:nvSpPr>
        <p:spPr>
          <a:xfrm>
            <a:off x="5262920" y="3923116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endParaRPr lang="en-IN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2" name="Title 5"/>
          <p:cNvSpPr txBox="1">
            <a:spLocks/>
          </p:cNvSpPr>
          <p:nvPr/>
        </p:nvSpPr>
        <p:spPr>
          <a:xfrm>
            <a:off x="4638023" y="4760365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endParaRPr lang="en-IN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4" name="Title 5"/>
          <p:cNvSpPr txBox="1">
            <a:spLocks/>
          </p:cNvSpPr>
          <p:nvPr/>
        </p:nvSpPr>
        <p:spPr>
          <a:xfrm>
            <a:off x="5415320" y="2507062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R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2pPr>
            <a:lvl3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3pPr>
            <a:lvl4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4pPr>
            <a:lvl5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5pPr>
            <a:lvl6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6pPr>
            <a:lvl7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7pPr>
            <a:lvl8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8pPr>
            <a:lvl9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9pPr>
          </a:lstStyle>
          <a:p>
            <a:r>
              <a:rPr lang="en-IN" dirty="0"/>
              <a:t>Network Concerns &amp; Solution</a:t>
            </a:r>
          </a:p>
        </p:txBody>
      </p:sp>
      <p:sp>
        <p:nvSpPr>
          <p:cNvPr id="25" name="Title 5"/>
          <p:cNvSpPr txBox="1">
            <a:spLocks/>
          </p:cNvSpPr>
          <p:nvPr/>
        </p:nvSpPr>
        <p:spPr>
          <a:xfrm>
            <a:off x="5415320" y="3415581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R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2pPr>
            <a:lvl3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3pPr>
            <a:lvl4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4pPr>
            <a:lvl5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5pPr>
            <a:lvl6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6pPr>
            <a:lvl7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7pPr>
            <a:lvl8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8pPr>
            <a:lvl9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9pPr>
          </a:lstStyle>
          <a:p>
            <a:r>
              <a:rPr lang="en-IN" dirty="0"/>
              <a:t>Border Concerns &amp; Solution</a:t>
            </a:r>
          </a:p>
        </p:txBody>
      </p:sp>
      <p:sp>
        <p:nvSpPr>
          <p:cNvPr id="26" name="Title 5"/>
          <p:cNvSpPr txBox="1">
            <a:spLocks/>
          </p:cNvSpPr>
          <p:nvPr/>
        </p:nvSpPr>
        <p:spPr>
          <a:xfrm>
            <a:off x="4056133" y="5013784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r>
              <a:rPr lang="en-IN" kern="0" dirty="0" smtClean="0">
                <a:solidFill>
                  <a:schemeClr val="bg1">
                    <a:lumMod val="85000"/>
                  </a:schemeClr>
                </a:solidFill>
              </a:rPr>
              <a:t>Partner Ecosystem</a:t>
            </a:r>
            <a:endParaRPr lang="en-IN" kern="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7" name="Title 5"/>
          <p:cNvSpPr txBox="1">
            <a:spLocks/>
          </p:cNvSpPr>
          <p:nvPr/>
        </p:nvSpPr>
        <p:spPr>
          <a:xfrm>
            <a:off x="4833430" y="1721612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r>
              <a:rPr lang="en-US" dirty="0" smtClean="0">
                <a:solidFill>
                  <a:schemeClr val="bg1">
                    <a:lumMod val="85000"/>
                  </a:schemeClr>
                </a:solidFill>
              </a:rPr>
              <a:t>Customer Base</a:t>
            </a:r>
            <a:endParaRPr lang="en-IN" kern="0" dirty="0">
              <a:solidFill>
                <a:schemeClr val="bg1">
                  <a:lumMod val="85000"/>
                </a:schemeClr>
              </a:solidFill>
            </a:endParaRPr>
          </a:p>
        </p:txBody>
      </p:sp>
      <p:pic>
        <p:nvPicPr>
          <p:cNvPr id="3" name="Picture Placeholder 2"/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59" r="2685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51265834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L’s KEY: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t>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© 2019-2020 </a:t>
            </a:r>
            <a:r>
              <a:rPr lang="en-IN" smtClean="0"/>
              <a:t>Sterlite Technologies Limited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2793660" y="259667"/>
            <a:ext cx="7003474" cy="70788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000" dirty="0" smtClean="0">
                <a:solidFill>
                  <a:schemeClr val="tx1">
                    <a:lumMod val="50000"/>
                    <a:lumOff val="50000"/>
                  </a:schemeClr>
                </a:solidFill>
                <a:sym typeface="Calibri"/>
              </a:rPr>
              <a:t>How we make difference</a:t>
            </a:r>
            <a:endParaRPr kumimoji="0" lang="en-US" sz="4000" b="0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FillTx/>
              <a:sym typeface="Calibri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63288BAA-8F96-AA4D-82FF-193566FA06D3}"/>
              </a:ext>
            </a:extLst>
          </p:cNvPr>
          <p:cNvSpPr txBox="1"/>
          <p:nvPr/>
        </p:nvSpPr>
        <p:spPr>
          <a:xfrm rot="16200000">
            <a:off x="-1982456" y="3533795"/>
            <a:ext cx="4957445" cy="144654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8800" dirty="0" smtClean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Sensron+</a:t>
            </a:r>
            <a:endParaRPr kumimoji="0" lang="en-US" sz="8800" i="0" u="none" strike="noStrike" cap="none" spc="0" normalizeH="0" baseline="0" dirty="0">
              <a:ln>
                <a:noFill/>
              </a:ln>
              <a:solidFill>
                <a:schemeClr val="bg2">
                  <a:lumMod val="90000"/>
                </a:schemeClr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219541" y="1316513"/>
            <a:ext cx="8158161" cy="70788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4000" b="0" i="0" u="none" strike="noStrike" cap="none" spc="0" normalizeH="0" baseline="0" dirty="0" smtClean="0">
                <a:ln>
                  <a:noFill/>
                </a:ln>
                <a:solidFill>
                  <a:srgbClr val="3366FF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End</a:t>
            </a:r>
            <a:r>
              <a:rPr kumimoji="0" lang="en-US" sz="4000" b="0" i="0" u="none" strike="noStrike" cap="none" spc="0" normalizeH="0" dirty="0" smtClean="0">
                <a:ln>
                  <a:noFill/>
                </a:ln>
                <a:solidFill>
                  <a:srgbClr val="3366FF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 To End Approach</a:t>
            </a:r>
            <a:endParaRPr kumimoji="0" lang="en-US" sz="4000" b="0" i="0" u="none" strike="noStrike" cap="none" spc="0" normalizeH="0" baseline="0" dirty="0">
              <a:ln>
                <a:noFill/>
              </a:ln>
              <a:solidFill>
                <a:srgbClr val="3366FF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081469" y="3665931"/>
            <a:ext cx="8829675" cy="5232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>
            <a:defPPr>
              <a:defRPr lang="en-US"/>
            </a:defPPr>
            <a:lvl1pPr marR="0" indent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000" b="0" i="0" u="none" strike="noStrike" cap="none" spc="0" normalizeH="0" baseline="0">
                <a:ln>
                  <a:noFill/>
                </a:ln>
                <a:solidFill>
                  <a:srgbClr val="284DBB"/>
                </a:solidFill>
                <a:effectLst/>
                <a:uFillTx/>
              </a:defRPr>
            </a:lvl1pPr>
          </a:lstStyle>
          <a:p>
            <a:r>
              <a:rPr lang="en-US" sz="2800" dirty="0">
                <a:solidFill>
                  <a:schemeClr val="tx1">
                    <a:lumMod val="50000"/>
                    <a:lumOff val="50000"/>
                  </a:schemeClr>
                </a:solidFill>
                <a:sym typeface="Calibri"/>
              </a:rPr>
              <a:t>Integrated &amp; </a:t>
            </a:r>
            <a:r>
              <a:rPr lang="en-US" sz="2800" dirty="0" err="1">
                <a:solidFill>
                  <a:schemeClr val="tx1">
                    <a:lumMod val="50000"/>
                    <a:lumOff val="50000"/>
                  </a:schemeClr>
                </a:solidFill>
                <a:sym typeface="Calibri"/>
              </a:rPr>
              <a:t>Optimised</a:t>
            </a:r>
            <a:r>
              <a:rPr lang="en-US" sz="2800" dirty="0">
                <a:solidFill>
                  <a:schemeClr val="tx1">
                    <a:lumMod val="50000"/>
                    <a:lumOff val="50000"/>
                  </a:schemeClr>
                </a:solidFill>
                <a:sym typeface="Calibri"/>
              </a:rPr>
              <a:t> Solutio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997891" y="1934554"/>
            <a:ext cx="8158161" cy="5847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>
            <a:defPPr>
              <a:defRPr lang="en-US"/>
            </a:defPPr>
            <a:lvl1pPr marR="0" indent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000" b="0" i="0" u="none" strike="noStrike" cap="none" spc="0" normalizeH="0" baseline="0">
                <a:ln>
                  <a:noFill/>
                </a:ln>
                <a:solidFill>
                  <a:srgbClr val="284DBB"/>
                </a:solidFill>
                <a:effectLst/>
                <a:uFillTx/>
              </a:defRPr>
            </a:lvl1pPr>
          </a:lstStyle>
          <a:p>
            <a:r>
              <a:rPr lang="en-US" sz="3200" dirty="0">
                <a:solidFill>
                  <a:srgbClr val="3366FF"/>
                </a:solidFill>
                <a:sym typeface="Calibri"/>
              </a:rPr>
              <a:t>100% Intrusion Proof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636495" y="4410235"/>
            <a:ext cx="8158161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>
            <a:defPPr>
              <a:defRPr lang="en-US"/>
            </a:defPPr>
            <a:lvl1pPr marR="0" indent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000" b="0" i="0" u="none" strike="noStrike" cap="none" spc="0" normalizeH="0" baseline="0">
                <a:ln>
                  <a:noFill/>
                </a:ln>
                <a:solidFill>
                  <a:srgbClr val="284DBB"/>
                </a:solidFill>
                <a:effectLst/>
                <a:uFillTx/>
              </a:defRPr>
            </a:lvl1pPr>
          </a:lstStyle>
          <a:p>
            <a:r>
              <a:rPr lang="en-US" sz="4800" dirty="0">
                <a:solidFill>
                  <a:schemeClr val="tx1">
                    <a:lumMod val="50000"/>
                    <a:lumOff val="50000"/>
                  </a:schemeClr>
                </a:solidFill>
                <a:sym typeface="Calibri"/>
              </a:rPr>
              <a:t>Rugged Solution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239472" y="2622501"/>
            <a:ext cx="8158161" cy="8617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>
            <a:defPPr>
              <a:defRPr lang="en-US"/>
            </a:defPPr>
            <a:lvl1pPr marR="0" indent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000" b="0" i="0" u="none" strike="noStrike" cap="none" spc="0" normalizeH="0" baseline="0">
                <a:ln>
                  <a:noFill/>
                </a:ln>
                <a:solidFill>
                  <a:srgbClr val="284DBB"/>
                </a:solidFill>
                <a:effectLst/>
                <a:uFillTx/>
              </a:defRPr>
            </a:lvl1pPr>
          </a:lstStyle>
          <a:p>
            <a:r>
              <a:rPr lang="en-US" sz="5000" dirty="0">
                <a:solidFill>
                  <a:srgbClr val="3366FF"/>
                </a:solidFill>
                <a:sym typeface="Calibri"/>
              </a:rPr>
              <a:t>Quick Response Tim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385370" y="5569467"/>
            <a:ext cx="8158161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>
            <a:defPPr>
              <a:defRPr lang="en-US"/>
            </a:defPPr>
            <a:lvl1pPr marR="0" indent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000" b="0" i="0" u="none" strike="noStrike" cap="none" spc="0" normalizeH="0" baseline="0">
                <a:ln>
                  <a:noFill/>
                </a:ln>
                <a:solidFill>
                  <a:srgbClr val="284DBB"/>
                </a:solidFill>
                <a:effectLst/>
                <a:uFillTx/>
              </a:defRPr>
            </a:lvl1pPr>
          </a:lstStyle>
          <a:p>
            <a:r>
              <a:rPr lang="en-US" sz="3600" dirty="0" smtClean="0">
                <a:solidFill>
                  <a:schemeClr val="tx1">
                    <a:lumMod val="50000"/>
                    <a:lumOff val="50000"/>
                  </a:schemeClr>
                </a:solidFill>
                <a:sym typeface="Calibri"/>
              </a:rPr>
              <a:t>Lesser False Alarm Rate</a:t>
            </a:r>
            <a:endParaRPr lang="en-US" sz="3600" dirty="0">
              <a:solidFill>
                <a:schemeClr val="tx1">
                  <a:lumMod val="50000"/>
                  <a:lumOff val="50000"/>
                </a:schemeClr>
              </a:solidFill>
              <a:sym typeface="Calibri"/>
            </a:endParaRPr>
          </a:p>
        </p:txBody>
      </p:sp>
      <p:pic>
        <p:nvPicPr>
          <p:cNvPr id="16" name="Picture Placeholder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89" r="25789"/>
          <a:stretch>
            <a:fillRect/>
          </a:stretch>
        </p:blipFill>
        <p:spPr>
          <a:xfrm>
            <a:off x="8047750" y="2472992"/>
            <a:ext cx="4058445" cy="5848882"/>
          </a:xfrm>
          <a:custGeom>
            <a:avLst/>
            <a:gdLst>
              <a:gd name="connsiteX0" fmla="*/ 0 w 4552950"/>
              <a:gd name="connsiteY0" fmla="*/ 0 h 4260850"/>
              <a:gd name="connsiteX1" fmla="*/ 2422525 w 4552950"/>
              <a:gd name="connsiteY1" fmla="*/ 0 h 4260850"/>
              <a:gd name="connsiteX2" fmla="*/ 4552950 w 4552950"/>
              <a:gd name="connsiteY2" fmla="*/ 2130425 h 4260850"/>
              <a:gd name="connsiteX3" fmla="*/ 2422525 w 4552950"/>
              <a:gd name="connsiteY3" fmla="*/ 4260850 h 4260850"/>
              <a:gd name="connsiteX4" fmla="*/ 0 w 4552950"/>
              <a:gd name="connsiteY4" fmla="*/ 4260850 h 4260850"/>
              <a:gd name="connsiteX5" fmla="*/ 2130425 w 4552950"/>
              <a:gd name="connsiteY5" fmla="*/ 2130425 h 4260850"/>
              <a:gd name="connsiteX6" fmla="*/ 0 w 4552950"/>
              <a:gd name="connsiteY6" fmla="*/ 0 h 426085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76594"/>
              <a:gd name="connsiteY0" fmla="*/ 107950 h 4368800"/>
              <a:gd name="connsiteX1" fmla="*/ 2225675 w 4576594"/>
              <a:gd name="connsiteY1" fmla="*/ 0 h 4368800"/>
              <a:gd name="connsiteX2" fmla="*/ 3482729 w 4576594"/>
              <a:gd name="connsiteY2" fmla="*/ 1184275 h 4368800"/>
              <a:gd name="connsiteX3" fmla="*/ 4552950 w 4576594"/>
              <a:gd name="connsiteY3" fmla="*/ 2238375 h 4368800"/>
              <a:gd name="connsiteX4" fmla="*/ 2422525 w 4576594"/>
              <a:gd name="connsiteY4" fmla="*/ 4368800 h 4368800"/>
              <a:gd name="connsiteX5" fmla="*/ 0 w 4576594"/>
              <a:gd name="connsiteY5" fmla="*/ 4368800 h 4368800"/>
              <a:gd name="connsiteX6" fmla="*/ 2130425 w 4576594"/>
              <a:gd name="connsiteY6" fmla="*/ 2238375 h 4368800"/>
              <a:gd name="connsiteX7" fmla="*/ 0 w 4576594"/>
              <a:gd name="connsiteY7" fmla="*/ 107950 h 4368800"/>
              <a:gd name="connsiteX0" fmla="*/ 0 w 4574056"/>
              <a:gd name="connsiteY0" fmla="*/ 107950 h 4368800"/>
              <a:gd name="connsiteX1" fmla="*/ 2225675 w 4574056"/>
              <a:gd name="connsiteY1" fmla="*/ 0 h 4368800"/>
              <a:gd name="connsiteX2" fmla="*/ 3362079 w 4574056"/>
              <a:gd name="connsiteY2" fmla="*/ 1019175 h 4368800"/>
              <a:gd name="connsiteX3" fmla="*/ 4552950 w 4574056"/>
              <a:gd name="connsiteY3" fmla="*/ 2238375 h 4368800"/>
              <a:gd name="connsiteX4" fmla="*/ 2422525 w 4574056"/>
              <a:gd name="connsiteY4" fmla="*/ 4368800 h 4368800"/>
              <a:gd name="connsiteX5" fmla="*/ 0 w 4574056"/>
              <a:gd name="connsiteY5" fmla="*/ 4368800 h 4368800"/>
              <a:gd name="connsiteX6" fmla="*/ 2130425 w 4574056"/>
              <a:gd name="connsiteY6" fmla="*/ 2238375 h 4368800"/>
              <a:gd name="connsiteX7" fmla="*/ 0 w 4574056"/>
              <a:gd name="connsiteY7" fmla="*/ 107950 h 4368800"/>
              <a:gd name="connsiteX0" fmla="*/ 0 w 4574056"/>
              <a:gd name="connsiteY0" fmla="*/ 107950 h 4368800"/>
              <a:gd name="connsiteX1" fmla="*/ 1946029 w 4574056"/>
              <a:gd name="connsiteY1" fmla="*/ 15875 h 4368800"/>
              <a:gd name="connsiteX2" fmla="*/ 2225675 w 4574056"/>
              <a:gd name="connsiteY2" fmla="*/ 0 h 4368800"/>
              <a:gd name="connsiteX3" fmla="*/ 3362079 w 4574056"/>
              <a:gd name="connsiteY3" fmla="*/ 1019175 h 4368800"/>
              <a:gd name="connsiteX4" fmla="*/ 4552950 w 4574056"/>
              <a:gd name="connsiteY4" fmla="*/ 2238375 h 4368800"/>
              <a:gd name="connsiteX5" fmla="*/ 2422525 w 4574056"/>
              <a:gd name="connsiteY5" fmla="*/ 4368800 h 4368800"/>
              <a:gd name="connsiteX6" fmla="*/ 0 w 4574056"/>
              <a:gd name="connsiteY6" fmla="*/ 4368800 h 4368800"/>
              <a:gd name="connsiteX7" fmla="*/ 2130425 w 4574056"/>
              <a:gd name="connsiteY7" fmla="*/ 2238375 h 4368800"/>
              <a:gd name="connsiteX8" fmla="*/ 0 w 4574056"/>
              <a:gd name="connsiteY8" fmla="*/ 107950 h 4368800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3614049"/>
              <a:gd name="connsiteY0" fmla="*/ 155575 h 4416425"/>
              <a:gd name="connsiteX1" fmla="*/ 1888879 w 3614049"/>
              <a:gd name="connsiteY1" fmla="*/ 0 h 4416425"/>
              <a:gd name="connsiteX2" fmla="*/ 2225675 w 3614049"/>
              <a:gd name="connsiteY2" fmla="*/ 47625 h 4416425"/>
              <a:gd name="connsiteX3" fmla="*/ 3362079 w 3614049"/>
              <a:gd name="connsiteY3" fmla="*/ 1066800 h 4416425"/>
              <a:gd name="connsiteX4" fmla="*/ 3441700 w 3614049"/>
              <a:gd name="connsiteY4" fmla="*/ 3448050 h 4416425"/>
              <a:gd name="connsiteX5" fmla="*/ 2422525 w 3614049"/>
              <a:gd name="connsiteY5" fmla="*/ 4416425 h 4416425"/>
              <a:gd name="connsiteX6" fmla="*/ 0 w 3614049"/>
              <a:gd name="connsiteY6" fmla="*/ 4416425 h 4416425"/>
              <a:gd name="connsiteX7" fmla="*/ 2130425 w 3614049"/>
              <a:gd name="connsiteY7" fmla="*/ 2286000 h 4416425"/>
              <a:gd name="connsiteX8" fmla="*/ 0 w 3614049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2130425 w 4199688"/>
              <a:gd name="connsiteY7" fmla="*/ 228600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831975 w 4199688"/>
              <a:gd name="connsiteY7" fmla="*/ 22796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834779 w 4199688"/>
              <a:gd name="connsiteY8" fmla="*/ 16065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488829 w 4199688"/>
              <a:gd name="connsiteY8" fmla="*/ 15938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526929 w 4199688"/>
              <a:gd name="connsiteY8" fmla="*/ 21907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0 w 4199688"/>
              <a:gd name="connsiteY11" fmla="*/ 1555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476129 w 4199688"/>
              <a:gd name="connsiteY1" fmla="*/ 2794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9845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212151"/>
              <a:gd name="connsiteY0" fmla="*/ 574675 h 4416425"/>
              <a:gd name="connsiteX1" fmla="*/ 1361829 w 4212151"/>
              <a:gd name="connsiteY1" fmla="*/ 190501 h 4416425"/>
              <a:gd name="connsiteX2" fmla="*/ 1888879 w 4212151"/>
              <a:gd name="connsiteY2" fmla="*/ 0 h 4416425"/>
              <a:gd name="connsiteX3" fmla="*/ 2225675 w 4212151"/>
              <a:gd name="connsiteY3" fmla="*/ 47625 h 4416425"/>
              <a:gd name="connsiteX4" fmla="*/ 2574679 w 4212151"/>
              <a:gd name="connsiteY4" fmla="*/ 279401 h 4416425"/>
              <a:gd name="connsiteX5" fmla="*/ 3362079 w 4212151"/>
              <a:gd name="connsiteY5" fmla="*/ 1066800 h 4416425"/>
              <a:gd name="connsiteX6" fmla="*/ 3441700 w 4212151"/>
              <a:gd name="connsiteY6" fmla="*/ 3448050 h 4416425"/>
              <a:gd name="connsiteX7" fmla="*/ 2422525 w 4212151"/>
              <a:gd name="connsiteY7" fmla="*/ 4416425 h 4416425"/>
              <a:gd name="connsiteX8" fmla="*/ 0 w 4212151"/>
              <a:gd name="connsiteY8" fmla="*/ 4416425 h 4416425"/>
              <a:gd name="connsiteX9" fmla="*/ 1590675 w 4212151"/>
              <a:gd name="connsiteY9" fmla="*/ 2901950 h 4416425"/>
              <a:gd name="connsiteX10" fmla="*/ 1825379 w 4212151"/>
              <a:gd name="connsiteY10" fmla="*/ 2203451 h 4416425"/>
              <a:gd name="connsiteX11" fmla="*/ 1647579 w 4212151"/>
              <a:gd name="connsiteY11" fmla="*/ 1739901 h 4416425"/>
              <a:gd name="connsiteX12" fmla="*/ 1355479 w 4212151"/>
              <a:gd name="connsiteY12" fmla="*/ 1460501 h 4416425"/>
              <a:gd name="connsiteX13" fmla="*/ 1041400 w 4212151"/>
              <a:gd name="connsiteY13" fmla="*/ 574675 h 4416425"/>
              <a:gd name="connsiteX0" fmla="*/ 1041400 w 4003839"/>
              <a:gd name="connsiteY0" fmla="*/ 574675 h 4416425"/>
              <a:gd name="connsiteX1" fmla="*/ 1361829 w 4003839"/>
              <a:gd name="connsiteY1" fmla="*/ 190501 h 4416425"/>
              <a:gd name="connsiteX2" fmla="*/ 1888879 w 4003839"/>
              <a:gd name="connsiteY2" fmla="*/ 0 h 4416425"/>
              <a:gd name="connsiteX3" fmla="*/ 2225675 w 4003839"/>
              <a:gd name="connsiteY3" fmla="*/ 47625 h 4416425"/>
              <a:gd name="connsiteX4" fmla="*/ 2574679 w 4003839"/>
              <a:gd name="connsiteY4" fmla="*/ 279401 h 4416425"/>
              <a:gd name="connsiteX5" fmla="*/ 3362079 w 4003839"/>
              <a:gd name="connsiteY5" fmla="*/ 1066800 h 4416425"/>
              <a:gd name="connsiteX6" fmla="*/ 4003430 w 4003839"/>
              <a:gd name="connsiteY6" fmla="*/ 2870201 h 4416425"/>
              <a:gd name="connsiteX7" fmla="*/ 3441700 w 4003839"/>
              <a:gd name="connsiteY7" fmla="*/ 3448050 h 4416425"/>
              <a:gd name="connsiteX8" fmla="*/ 2422525 w 4003839"/>
              <a:gd name="connsiteY8" fmla="*/ 4416425 h 4416425"/>
              <a:gd name="connsiteX9" fmla="*/ 0 w 4003839"/>
              <a:gd name="connsiteY9" fmla="*/ 4416425 h 4416425"/>
              <a:gd name="connsiteX10" fmla="*/ 1590675 w 4003839"/>
              <a:gd name="connsiteY10" fmla="*/ 2901950 h 4416425"/>
              <a:gd name="connsiteX11" fmla="*/ 1825379 w 4003839"/>
              <a:gd name="connsiteY11" fmla="*/ 2203451 h 4416425"/>
              <a:gd name="connsiteX12" fmla="*/ 1647579 w 4003839"/>
              <a:gd name="connsiteY12" fmla="*/ 1739901 h 4416425"/>
              <a:gd name="connsiteX13" fmla="*/ 1355479 w 4003839"/>
              <a:gd name="connsiteY13" fmla="*/ 1460501 h 4416425"/>
              <a:gd name="connsiteX14" fmla="*/ 1041400 w 4003839"/>
              <a:gd name="connsiteY14" fmla="*/ 574675 h 4416425"/>
              <a:gd name="connsiteX0" fmla="*/ 1041400 w 4187841"/>
              <a:gd name="connsiteY0" fmla="*/ 574675 h 4416425"/>
              <a:gd name="connsiteX1" fmla="*/ 1361829 w 4187841"/>
              <a:gd name="connsiteY1" fmla="*/ 190501 h 4416425"/>
              <a:gd name="connsiteX2" fmla="*/ 1888879 w 4187841"/>
              <a:gd name="connsiteY2" fmla="*/ 0 h 4416425"/>
              <a:gd name="connsiteX3" fmla="*/ 2225675 w 4187841"/>
              <a:gd name="connsiteY3" fmla="*/ 47625 h 4416425"/>
              <a:gd name="connsiteX4" fmla="*/ 2574679 w 4187841"/>
              <a:gd name="connsiteY4" fmla="*/ 279401 h 4416425"/>
              <a:gd name="connsiteX5" fmla="*/ 3362079 w 4187841"/>
              <a:gd name="connsiteY5" fmla="*/ 1066800 h 4416425"/>
              <a:gd name="connsiteX6" fmla="*/ 4187580 w 4187841"/>
              <a:gd name="connsiteY6" fmla="*/ 2279651 h 4416425"/>
              <a:gd name="connsiteX7" fmla="*/ 3441700 w 4187841"/>
              <a:gd name="connsiteY7" fmla="*/ 3448050 h 4416425"/>
              <a:gd name="connsiteX8" fmla="*/ 2422525 w 4187841"/>
              <a:gd name="connsiteY8" fmla="*/ 4416425 h 4416425"/>
              <a:gd name="connsiteX9" fmla="*/ 0 w 4187841"/>
              <a:gd name="connsiteY9" fmla="*/ 4416425 h 4416425"/>
              <a:gd name="connsiteX10" fmla="*/ 1590675 w 4187841"/>
              <a:gd name="connsiteY10" fmla="*/ 2901950 h 4416425"/>
              <a:gd name="connsiteX11" fmla="*/ 1825379 w 4187841"/>
              <a:gd name="connsiteY11" fmla="*/ 2203451 h 4416425"/>
              <a:gd name="connsiteX12" fmla="*/ 1647579 w 4187841"/>
              <a:gd name="connsiteY12" fmla="*/ 1739901 h 4416425"/>
              <a:gd name="connsiteX13" fmla="*/ 1355479 w 4187841"/>
              <a:gd name="connsiteY13" fmla="*/ 1460501 h 4416425"/>
              <a:gd name="connsiteX14" fmla="*/ 1041400 w 4187841"/>
              <a:gd name="connsiteY14" fmla="*/ 574675 h 4416425"/>
              <a:gd name="connsiteX0" fmla="*/ 1041400 w 4200656"/>
              <a:gd name="connsiteY0" fmla="*/ 574675 h 4416425"/>
              <a:gd name="connsiteX1" fmla="*/ 1361829 w 4200656"/>
              <a:gd name="connsiteY1" fmla="*/ 190501 h 4416425"/>
              <a:gd name="connsiteX2" fmla="*/ 1888879 w 4200656"/>
              <a:gd name="connsiteY2" fmla="*/ 0 h 4416425"/>
              <a:gd name="connsiteX3" fmla="*/ 2225675 w 4200656"/>
              <a:gd name="connsiteY3" fmla="*/ 47625 h 4416425"/>
              <a:gd name="connsiteX4" fmla="*/ 2574679 w 4200656"/>
              <a:gd name="connsiteY4" fmla="*/ 279401 h 4416425"/>
              <a:gd name="connsiteX5" fmla="*/ 3362079 w 4200656"/>
              <a:gd name="connsiteY5" fmla="*/ 1066800 h 4416425"/>
              <a:gd name="connsiteX6" fmla="*/ 3876430 w 4200656"/>
              <a:gd name="connsiteY6" fmla="*/ 1714501 h 4416425"/>
              <a:gd name="connsiteX7" fmla="*/ 4187580 w 4200656"/>
              <a:gd name="connsiteY7" fmla="*/ 2279651 h 4416425"/>
              <a:gd name="connsiteX8" fmla="*/ 3441700 w 4200656"/>
              <a:gd name="connsiteY8" fmla="*/ 3448050 h 4416425"/>
              <a:gd name="connsiteX9" fmla="*/ 2422525 w 4200656"/>
              <a:gd name="connsiteY9" fmla="*/ 4416425 h 4416425"/>
              <a:gd name="connsiteX10" fmla="*/ 0 w 4200656"/>
              <a:gd name="connsiteY10" fmla="*/ 4416425 h 4416425"/>
              <a:gd name="connsiteX11" fmla="*/ 1590675 w 4200656"/>
              <a:gd name="connsiteY11" fmla="*/ 2901950 h 4416425"/>
              <a:gd name="connsiteX12" fmla="*/ 1825379 w 4200656"/>
              <a:gd name="connsiteY12" fmla="*/ 2203451 h 4416425"/>
              <a:gd name="connsiteX13" fmla="*/ 1647579 w 4200656"/>
              <a:gd name="connsiteY13" fmla="*/ 1739901 h 4416425"/>
              <a:gd name="connsiteX14" fmla="*/ 1355479 w 4200656"/>
              <a:gd name="connsiteY14" fmla="*/ 1460501 h 4416425"/>
              <a:gd name="connsiteX15" fmla="*/ 1041400 w 4200656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3672"/>
              <a:gd name="connsiteY0" fmla="*/ 574675 h 4416425"/>
              <a:gd name="connsiteX1" fmla="*/ 1361829 w 4203672"/>
              <a:gd name="connsiteY1" fmla="*/ 190501 h 4416425"/>
              <a:gd name="connsiteX2" fmla="*/ 1888879 w 4203672"/>
              <a:gd name="connsiteY2" fmla="*/ 0 h 4416425"/>
              <a:gd name="connsiteX3" fmla="*/ 2225675 w 4203672"/>
              <a:gd name="connsiteY3" fmla="*/ 47625 h 4416425"/>
              <a:gd name="connsiteX4" fmla="*/ 2574679 w 4203672"/>
              <a:gd name="connsiteY4" fmla="*/ 279401 h 4416425"/>
              <a:gd name="connsiteX5" fmla="*/ 3362079 w 4203672"/>
              <a:gd name="connsiteY5" fmla="*/ 1066800 h 4416425"/>
              <a:gd name="connsiteX6" fmla="*/ 3952630 w 4203672"/>
              <a:gd name="connsiteY6" fmla="*/ 1663701 h 4416425"/>
              <a:gd name="connsiteX7" fmla="*/ 4187580 w 4203672"/>
              <a:gd name="connsiteY7" fmla="*/ 2279651 h 4416425"/>
              <a:gd name="connsiteX8" fmla="*/ 3441700 w 4203672"/>
              <a:gd name="connsiteY8" fmla="*/ 3448050 h 4416425"/>
              <a:gd name="connsiteX9" fmla="*/ 2422525 w 4203672"/>
              <a:gd name="connsiteY9" fmla="*/ 4416425 h 4416425"/>
              <a:gd name="connsiteX10" fmla="*/ 0 w 4203672"/>
              <a:gd name="connsiteY10" fmla="*/ 4416425 h 4416425"/>
              <a:gd name="connsiteX11" fmla="*/ 1590675 w 4203672"/>
              <a:gd name="connsiteY11" fmla="*/ 2901950 h 4416425"/>
              <a:gd name="connsiteX12" fmla="*/ 1825379 w 4203672"/>
              <a:gd name="connsiteY12" fmla="*/ 2203451 h 4416425"/>
              <a:gd name="connsiteX13" fmla="*/ 1647579 w 4203672"/>
              <a:gd name="connsiteY13" fmla="*/ 1739901 h 4416425"/>
              <a:gd name="connsiteX14" fmla="*/ 1355479 w 4203672"/>
              <a:gd name="connsiteY14" fmla="*/ 1460501 h 4416425"/>
              <a:gd name="connsiteX15" fmla="*/ 1041400 w 4203672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441700 w 4191105"/>
              <a:gd name="connsiteY8" fmla="*/ 3448050 h 4416425"/>
              <a:gd name="connsiteX9" fmla="*/ 2422525 w 4191105"/>
              <a:gd name="connsiteY9" fmla="*/ 4416425 h 4416425"/>
              <a:gd name="connsiteX10" fmla="*/ 0 w 4191105"/>
              <a:gd name="connsiteY10" fmla="*/ 4416425 h 4416425"/>
              <a:gd name="connsiteX11" fmla="*/ 1590675 w 4191105"/>
              <a:gd name="connsiteY11" fmla="*/ 2901950 h 4416425"/>
              <a:gd name="connsiteX12" fmla="*/ 1825379 w 4191105"/>
              <a:gd name="connsiteY12" fmla="*/ 2203451 h 4416425"/>
              <a:gd name="connsiteX13" fmla="*/ 1647579 w 4191105"/>
              <a:gd name="connsiteY13" fmla="*/ 1739901 h 4416425"/>
              <a:gd name="connsiteX14" fmla="*/ 1355479 w 4191105"/>
              <a:gd name="connsiteY14" fmla="*/ 1460501 h 4416425"/>
              <a:gd name="connsiteX15" fmla="*/ 1041400 w 4191105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971680 w 4191105"/>
              <a:gd name="connsiteY8" fmla="*/ 27432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4035180 w 4191105"/>
              <a:gd name="connsiteY8" fmla="*/ 28194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838278 w 3172386"/>
              <a:gd name="connsiteY12" fmla="*/ 418465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393778 w 3172386"/>
              <a:gd name="connsiteY13" fmla="*/ 385445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996 w 3163824"/>
              <a:gd name="connsiteY0" fmla="*/ 633232 h 4575175"/>
              <a:gd name="connsiteX1" fmla="*/ 334416 w 3163824"/>
              <a:gd name="connsiteY1" fmla="*/ 190501 h 4575175"/>
              <a:gd name="connsiteX2" fmla="*/ 861466 w 3163824"/>
              <a:gd name="connsiteY2" fmla="*/ 0 h 4575175"/>
              <a:gd name="connsiteX3" fmla="*/ 1198262 w 3163824"/>
              <a:gd name="connsiteY3" fmla="*/ 47625 h 4575175"/>
              <a:gd name="connsiteX4" fmla="*/ 1547266 w 3163824"/>
              <a:gd name="connsiteY4" fmla="*/ 279401 h 4575175"/>
              <a:gd name="connsiteX5" fmla="*/ 2334666 w 3163824"/>
              <a:gd name="connsiteY5" fmla="*/ 1066800 h 4575175"/>
              <a:gd name="connsiteX6" fmla="*/ 2925217 w 3163824"/>
              <a:gd name="connsiteY6" fmla="*/ 1663701 h 4575175"/>
              <a:gd name="connsiteX7" fmla="*/ 3160167 w 3163824"/>
              <a:gd name="connsiteY7" fmla="*/ 2279651 h 4575175"/>
              <a:gd name="connsiteX8" fmla="*/ 2950617 w 3163824"/>
              <a:gd name="connsiteY8" fmla="*/ 2882901 h 4575175"/>
              <a:gd name="connsiteX9" fmla="*/ 2414287 w 3163824"/>
              <a:gd name="connsiteY9" fmla="*/ 3448050 h 4575175"/>
              <a:gd name="connsiteX10" fmla="*/ 1395112 w 3163824"/>
              <a:gd name="connsiteY10" fmla="*/ 4416425 h 4575175"/>
              <a:gd name="connsiteX11" fmla="*/ 915687 w 3163824"/>
              <a:gd name="connsiteY11" fmla="*/ 4575175 h 4575175"/>
              <a:gd name="connsiteX12" fmla="*/ 315366 w 3163824"/>
              <a:gd name="connsiteY12" fmla="*/ 4292601 h 4575175"/>
              <a:gd name="connsiteX13" fmla="*/ 67716 w 3163824"/>
              <a:gd name="connsiteY13" fmla="*/ 3822701 h 4575175"/>
              <a:gd name="connsiteX14" fmla="*/ 213766 w 3163824"/>
              <a:gd name="connsiteY14" fmla="*/ 3309938 h 4575175"/>
              <a:gd name="connsiteX15" fmla="*/ 563262 w 3163824"/>
              <a:gd name="connsiteY15" fmla="*/ 2901950 h 4575175"/>
              <a:gd name="connsiteX16" fmla="*/ 797966 w 3163824"/>
              <a:gd name="connsiteY16" fmla="*/ 2203451 h 4575175"/>
              <a:gd name="connsiteX17" fmla="*/ 620166 w 3163824"/>
              <a:gd name="connsiteY17" fmla="*/ 1739901 h 4575175"/>
              <a:gd name="connsiteX18" fmla="*/ 328066 w 3163824"/>
              <a:gd name="connsiteY18" fmla="*/ 1460501 h 4575175"/>
              <a:gd name="connsiteX19" fmla="*/ 22996 w 3163824"/>
              <a:gd name="connsiteY19" fmla="*/ 633232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597196 w 3172385"/>
              <a:gd name="connsiteY17" fmla="*/ 179395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332 w 3172169"/>
              <a:gd name="connsiteY0" fmla="*/ 606206 h 4575175"/>
              <a:gd name="connsiteX1" fmla="*/ 342761 w 3172169"/>
              <a:gd name="connsiteY1" fmla="*/ 190501 h 4575175"/>
              <a:gd name="connsiteX2" fmla="*/ 869811 w 3172169"/>
              <a:gd name="connsiteY2" fmla="*/ 0 h 4575175"/>
              <a:gd name="connsiteX3" fmla="*/ 1206607 w 3172169"/>
              <a:gd name="connsiteY3" fmla="*/ 47625 h 4575175"/>
              <a:gd name="connsiteX4" fmla="*/ 1555611 w 3172169"/>
              <a:gd name="connsiteY4" fmla="*/ 279401 h 4575175"/>
              <a:gd name="connsiteX5" fmla="*/ 2343011 w 3172169"/>
              <a:gd name="connsiteY5" fmla="*/ 1066800 h 4575175"/>
              <a:gd name="connsiteX6" fmla="*/ 2933562 w 3172169"/>
              <a:gd name="connsiteY6" fmla="*/ 1663701 h 4575175"/>
              <a:gd name="connsiteX7" fmla="*/ 3168512 w 3172169"/>
              <a:gd name="connsiteY7" fmla="*/ 2279651 h 4575175"/>
              <a:gd name="connsiteX8" fmla="*/ 2958962 w 3172169"/>
              <a:gd name="connsiteY8" fmla="*/ 2882901 h 4575175"/>
              <a:gd name="connsiteX9" fmla="*/ 2422632 w 3172169"/>
              <a:gd name="connsiteY9" fmla="*/ 3448050 h 4575175"/>
              <a:gd name="connsiteX10" fmla="*/ 1403457 w 3172169"/>
              <a:gd name="connsiteY10" fmla="*/ 4416425 h 4575175"/>
              <a:gd name="connsiteX11" fmla="*/ 924032 w 3172169"/>
              <a:gd name="connsiteY11" fmla="*/ 4575175 h 4575175"/>
              <a:gd name="connsiteX12" fmla="*/ 323711 w 3172169"/>
              <a:gd name="connsiteY12" fmla="*/ 4292601 h 4575175"/>
              <a:gd name="connsiteX13" fmla="*/ 76061 w 3172169"/>
              <a:gd name="connsiteY13" fmla="*/ 3822701 h 4575175"/>
              <a:gd name="connsiteX14" fmla="*/ 222111 w 3172169"/>
              <a:gd name="connsiteY14" fmla="*/ 3309938 h 4575175"/>
              <a:gd name="connsiteX15" fmla="*/ 571607 w 3172169"/>
              <a:gd name="connsiteY15" fmla="*/ 2901950 h 4575175"/>
              <a:gd name="connsiteX16" fmla="*/ 806311 w 3172169"/>
              <a:gd name="connsiteY16" fmla="*/ 2203451 h 4575175"/>
              <a:gd name="connsiteX17" fmla="*/ 633015 w 3172169"/>
              <a:gd name="connsiteY17" fmla="*/ 1753414 h 4575175"/>
              <a:gd name="connsiteX18" fmla="*/ 340915 w 3172169"/>
              <a:gd name="connsiteY18" fmla="*/ 1469510 h 4575175"/>
              <a:gd name="connsiteX19" fmla="*/ 22332 w 3172169"/>
              <a:gd name="connsiteY19" fmla="*/ 606206 h 4575175"/>
              <a:gd name="connsiteX0" fmla="*/ 22747 w 3172584"/>
              <a:gd name="connsiteY0" fmla="*/ 606206 h 4575175"/>
              <a:gd name="connsiteX1" fmla="*/ 343176 w 3172584"/>
              <a:gd name="connsiteY1" fmla="*/ 190501 h 4575175"/>
              <a:gd name="connsiteX2" fmla="*/ 870226 w 3172584"/>
              <a:gd name="connsiteY2" fmla="*/ 0 h 4575175"/>
              <a:gd name="connsiteX3" fmla="*/ 1207022 w 3172584"/>
              <a:gd name="connsiteY3" fmla="*/ 47625 h 4575175"/>
              <a:gd name="connsiteX4" fmla="*/ 1556026 w 3172584"/>
              <a:gd name="connsiteY4" fmla="*/ 279401 h 4575175"/>
              <a:gd name="connsiteX5" fmla="*/ 2343426 w 3172584"/>
              <a:gd name="connsiteY5" fmla="*/ 1066800 h 4575175"/>
              <a:gd name="connsiteX6" fmla="*/ 2933977 w 3172584"/>
              <a:gd name="connsiteY6" fmla="*/ 1663701 h 4575175"/>
              <a:gd name="connsiteX7" fmla="*/ 3168927 w 3172584"/>
              <a:gd name="connsiteY7" fmla="*/ 2279651 h 4575175"/>
              <a:gd name="connsiteX8" fmla="*/ 2959377 w 3172584"/>
              <a:gd name="connsiteY8" fmla="*/ 2882901 h 4575175"/>
              <a:gd name="connsiteX9" fmla="*/ 2423047 w 3172584"/>
              <a:gd name="connsiteY9" fmla="*/ 3448050 h 4575175"/>
              <a:gd name="connsiteX10" fmla="*/ 1403872 w 3172584"/>
              <a:gd name="connsiteY10" fmla="*/ 4416425 h 4575175"/>
              <a:gd name="connsiteX11" fmla="*/ 924447 w 3172584"/>
              <a:gd name="connsiteY11" fmla="*/ 4575175 h 4575175"/>
              <a:gd name="connsiteX12" fmla="*/ 324126 w 3172584"/>
              <a:gd name="connsiteY12" fmla="*/ 4292601 h 4575175"/>
              <a:gd name="connsiteX13" fmla="*/ 76476 w 3172584"/>
              <a:gd name="connsiteY13" fmla="*/ 3822701 h 4575175"/>
              <a:gd name="connsiteX14" fmla="*/ 222526 w 3172584"/>
              <a:gd name="connsiteY14" fmla="*/ 3309938 h 4575175"/>
              <a:gd name="connsiteX15" fmla="*/ 572022 w 3172584"/>
              <a:gd name="connsiteY15" fmla="*/ 2901950 h 4575175"/>
              <a:gd name="connsiteX16" fmla="*/ 806726 w 3172584"/>
              <a:gd name="connsiteY16" fmla="*/ 2203451 h 4575175"/>
              <a:gd name="connsiteX17" fmla="*/ 633430 w 3172584"/>
              <a:gd name="connsiteY17" fmla="*/ 1753414 h 4575175"/>
              <a:gd name="connsiteX18" fmla="*/ 341330 w 3172584"/>
              <a:gd name="connsiteY18" fmla="*/ 1469510 h 4575175"/>
              <a:gd name="connsiteX19" fmla="*/ 22747 w 3172584"/>
              <a:gd name="connsiteY19" fmla="*/ 606206 h 4575175"/>
              <a:gd name="connsiteX0" fmla="*/ 21541 w 3171378"/>
              <a:gd name="connsiteY0" fmla="*/ 606206 h 4575175"/>
              <a:gd name="connsiteX1" fmla="*/ 341970 w 3171378"/>
              <a:gd name="connsiteY1" fmla="*/ 190501 h 4575175"/>
              <a:gd name="connsiteX2" fmla="*/ 869020 w 3171378"/>
              <a:gd name="connsiteY2" fmla="*/ 0 h 4575175"/>
              <a:gd name="connsiteX3" fmla="*/ 1205816 w 3171378"/>
              <a:gd name="connsiteY3" fmla="*/ 47625 h 4575175"/>
              <a:gd name="connsiteX4" fmla="*/ 1554820 w 3171378"/>
              <a:gd name="connsiteY4" fmla="*/ 279401 h 4575175"/>
              <a:gd name="connsiteX5" fmla="*/ 2342220 w 3171378"/>
              <a:gd name="connsiteY5" fmla="*/ 1066800 h 4575175"/>
              <a:gd name="connsiteX6" fmla="*/ 2932771 w 3171378"/>
              <a:gd name="connsiteY6" fmla="*/ 1663701 h 4575175"/>
              <a:gd name="connsiteX7" fmla="*/ 3167721 w 3171378"/>
              <a:gd name="connsiteY7" fmla="*/ 2279651 h 4575175"/>
              <a:gd name="connsiteX8" fmla="*/ 2958171 w 3171378"/>
              <a:gd name="connsiteY8" fmla="*/ 2882901 h 4575175"/>
              <a:gd name="connsiteX9" fmla="*/ 2421841 w 3171378"/>
              <a:gd name="connsiteY9" fmla="*/ 3448050 h 4575175"/>
              <a:gd name="connsiteX10" fmla="*/ 1402666 w 3171378"/>
              <a:gd name="connsiteY10" fmla="*/ 4416425 h 4575175"/>
              <a:gd name="connsiteX11" fmla="*/ 923241 w 3171378"/>
              <a:gd name="connsiteY11" fmla="*/ 4575175 h 4575175"/>
              <a:gd name="connsiteX12" fmla="*/ 322920 w 3171378"/>
              <a:gd name="connsiteY12" fmla="*/ 4292601 h 4575175"/>
              <a:gd name="connsiteX13" fmla="*/ 75270 w 3171378"/>
              <a:gd name="connsiteY13" fmla="*/ 3822701 h 4575175"/>
              <a:gd name="connsiteX14" fmla="*/ 221320 w 3171378"/>
              <a:gd name="connsiteY14" fmla="*/ 3309938 h 4575175"/>
              <a:gd name="connsiteX15" fmla="*/ 570816 w 3171378"/>
              <a:gd name="connsiteY15" fmla="*/ 2901950 h 4575175"/>
              <a:gd name="connsiteX16" fmla="*/ 805520 w 3171378"/>
              <a:gd name="connsiteY16" fmla="*/ 2203451 h 4575175"/>
              <a:gd name="connsiteX17" fmla="*/ 632224 w 3171378"/>
              <a:gd name="connsiteY17" fmla="*/ 1753414 h 4575175"/>
              <a:gd name="connsiteX18" fmla="*/ 340124 w 3171378"/>
              <a:gd name="connsiteY18" fmla="*/ 1469510 h 4575175"/>
              <a:gd name="connsiteX19" fmla="*/ 21541 w 3171378"/>
              <a:gd name="connsiteY19" fmla="*/ 606206 h 4575175"/>
              <a:gd name="connsiteX0" fmla="*/ 7707 w 3157544"/>
              <a:gd name="connsiteY0" fmla="*/ 606206 h 4575175"/>
              <a:gd name="connsiteX1" fmla="*/ 328136 w 3157544"/>
              <a:gd name="connsiteY1" fmla="*/ 190501 h 4575175"/>
              <a:gd name="connsiteX2" fmla="*/ 855186 w 3157544"/>
              <a:gd name="connsiteY2" fmla="*/ 0 h 4575175"/>
              <a:gd name="connsiteX3" fmla="*/ 1191982 w 3157544"/>
              <a:gd name="connsiteY3" fmla="*/ 47625 h 4575175"/>
              <a:gd name="connsiteX4" fmla="*/ 1540986 w 3157544"/>
              <a:gd name="connsiteY4" fmla="*/ 279401 h 4575175"/>
              <a:gd name="connsiteX5" fmla="*/ 2328386 w 3157544"/>
              <a:gd name="connsiteY5" fmla="*/ 1066800 h 4575175"/>
              <a:gd name="connsiteX6" fmla="*/ 2918937 w 3157544"/>
              <a:gd name="connsiteY6" fmla="*/ 1663701 h 4575175"/>
              <a:gd name="connsiteX7" fmla="*/ 3153887 w 3157544"/>
              <a:gd name="connsiteY7" fmla="*/ 2279651 h 4575175"/>
              <a:gd name="connsiteX8" fmla="*/ 2944337 w 3157544"/>
              <a:gd name="connsiteY8" fmla="*/ 2882901 h 4575175"/>
              <a:gd name="connsiteX9" fmla="*/ 2408007 w 3157544"/>
              <a:gd name="connsiteY9" fmla="*/ 3448050 h 4575175"/>
              <a:gd name="connsiteX10" fmla="*/ 1388832 w 3157544"/>
              <a:gd name="connsiteY10" fmla="*/ 4416425 h 4575175"/>
              <a:gd name="connsiteX11" fmla="*/ 909407 w 3157544"/>
              <a:gd name="connsiteY11" fmla="*/ 4575175 h 4575175"/>
              <a:gd name="connsiteX12" fmla="*/ 309086 w 3157544"/>
              <a:gd name="connsiteY12" fmla="*/ 4292601 h 4575175"/>
              <a:gd name="connsiteX13" fmla="*/ 61436 w 3157544"/>
              <a:gd name="connsiteY13" fmla="*/ 3822701 h 4575175"/>
              <a:gd name="connsiteX14" fmla="*/ 207486 w 3157544"/>
              <a:gd name="connsiteY14" fmla="*/ 3309938 h 4575175"/>
              <a:gd name="connsiteX15" fmla="*/ 556982 w 3157544"/>
              <a:gd name="connsiteY15" fmla="*/ 2901950 h 4575175"/>
              <a:gd name="connsiteX16" fmla="*/ 791686 w 3157544"/>
              <a:gd name="connsiteY16" fmla="*/ 2203451 h 4575175"/>
              <a:gd name="connsiteX17" fmla="*/ 618390 w 3157544"/>
              <a:gd name="connsiteY17" fmla="*/ 1753414 h 4575175"/>
              <a:gd name="connsiteX18" fmla="*/ 326290 w 3157544"/>
              <a:gd name="connsiteY18" fmla="*/ 1469510 h 4575175"/>
              <a:gd name="connsiteX19" fmla="*/ 118243 w 3157544"/>
              <a:gd name="connsiteY19" fmla="*/ 1272964 h 4575175"/>
              <a:gd name="connsiteX20" fmla="*/ 7707 w 3157544"/>
              <a:gd name="connsiteY20" fmla="*/ 606206 h 4575175"/>
              <a:gd name="connsiteX0" fmla="*/ 7180 w 3157017"/>
              <a:gd name="connsiteY0" fmla="*/ 606206 h 4575175"/>
              <a:gd name="connsiteX1" fmla="*/ 327609 w 3157017"/>
              <a:gd name="connsiteY1" fmla="*/ 190501 h 4575175"/>
              <a:gd name="connsiteX2" fmla="*/ 854659 w 3157017"/>
              <a:gd name="connsiteY2" fmla="*/ 0 h 4575175"/>
              <a:gd name="connsiteX3" fmla="*/ 1191455 w 3157017"/>
              <a:gd name="connsiteY3" fmla="*/ 47625 h 4575175"/>
              <a:gd name="connsiteX4" fmla="*/ 1540459 w 3157017"/>
              <a:gd name="connsiteY4" fmla="*/ 279401 h 4575175"/>
              <a:gd name="connsiteX5" fmla="*/ 2327859 w 3157017"/>
              <a:gd name="connsiteY5" fmla="*/ 1066800 h 4575175"/>
              <a:gd name="connsiteX6" fmla="*/ 2918410 w 3157017"/>
              <a:gd name="connsiteY6" fmla="*/ 1663701 h 4575175"/>
              <a:gd name="connsiteX7" fmla="*/ 3153360 w 3157017"/>
              <a:gd name="connsiteY7" fmla="*/ 2279651 h 4575175"/>
              <a:gd name="connsiteX8" fmla="*/ 2943810 w 3157017"/>
              <a:gd name="connsiteY8" fmla="*/ 2882901 h 4575175"/>
              <a:gd name="connsiteX9" fmla="*/ 2407480 w 3157017"/>
              <a:gd name="connsiteY9" fmla="*/ 3448050 h 4575175"/>
              <a:gd name="connsiteX10" fmla="*/ 1388305 w 3157017"/>
              <a:gd name="connsiteY10" fmla="*/ 4416425 h 4575175"/>
              <a:gd name="connsiteX11" fmla="*/ 908880 w 3157017"/>
              <a:gd name="connsiteY11" fmla="*/ 4575175 h 4575175"/>
              <a:gd name="connsiteX12" fmla="*/ 308559 w 3157017"/>
              <a:gd name="connsiteY12" fmla="*/ 4292601 h 4575175"/>
              <a:gd name="connsiteX13" fmla="*/ 60909 w 3157017"/>
              <a:gd name="connsiteY13" fmla="*/ 3822701 h 4575175"/>
              <a:gd name="connsiteX14" fmla="*/ 206959 w 3157017"/>
              <a:gd name="connsiteY14" fmla="*/ 3309938 h 4575175"/>
              <a:gd name="connsiteX15" fmla="*/ 556455 w 3157017"/>
              <a:gd name="connsiteY15" fmla="*/ 2901950 h 4575175"/>
              <a:gd name="connsiteX16" fmla="*/ 791159 w 3157017"/>
              <a:gd name="connsiteY16" fmla="*/ 2203451 h 4575175"/>
              <a:gd name="connsiteX17" fmla="*/ 617863 w 3157017"/>
              <a:gd name="connsiteY17" fmla="*/ 1753414 h 4575175"/>
              <a:gd name="connsiteX18" fmla="*/ 325763 w 3157017"/>
              <a:gd name="connsiteY18" fmla="*/ 1469510 h 4575175"/>
              <a:gd name="connsiteX19" fmla="*/ 126725 w 3157017"/>
              <a:gd name="connsiteY19" fmla="*/ 1245938 h 4575175"/>
              <a:gd name="connsiteX20" fmla="*/ 7180 w 3157017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20915 w 3174640"/>
              <a:gd name="connsiteY16" fmla="*/ 2583755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3174640" h="4575175">
                <a:moveTo>
                  <a:pt x="24803" y="606206"/>
                </a:moveTo>
                <a:cubicBezTo>
                  <a:pt x="125263" y="342139"/>
                  <a:pt x="225722" y="286809"/>
                  <a:pt x="345232" y="190501"/>
                </a:cubicBezTo>
                <a:cubicBezTo>
                  <a:pt x="609815" y="6351"/>
                  <a:pt x="747399" y="19050"/>
                  <a:pt x="872282" y="0"/>
                </a:cubicBezTo>
                <a:cubicBezTo>
                  <a:pt x="1009947" y="3175"/>
                  <a:pt x="1103163" y="6350"/>
                  <a:pt x="1209078" y="47625"/>
                </a:cubicBezTo>
                <a:cubicBezTo>
                  <a:pt x="1323378" y="97367"/>
                  <a:pt x="1368681" y="109539"/>
                  <a:pt x="1558082" y="279401"/>
                </a:cubicBezTo>
                <a:cubicBezTo>
                  <a:pt x="1664933" y="385763"/>
                  <a:pt x="2023179" y="738717"/>
                  <a:pt x="2345482" y="1066800"/>
                </a:cubicBezTo>
                <a:cubicBezTo>
                  <a:pt x="2562441" y="1305983"/>
                  <a:pt x="2792100" y="1499659"/>
                  <a:pt x="2936033" y="1663701"/>
                </a:cubicBezTo>
                <a:cubicBezTo>
                  <a:pt x="3060916" y="1821393"/>
                  <a:pt x="3198988" y="1990726"/>
                  <a:pt x="3170983" y="2279651"/>
                </a:cubicBezTo>
                <a:cubicBezTo>
                  <a:pt x="3174158" y="2459568"/>
                  <a:pt x="3130196" y="2656418"/>
                  <a:pt x="2961433" y="2882901"/>
                </a:cubicBezTo>
                <a:cubicBezTo>
                  <a:pt x="2779970" y="3083984"/>
                  <a:pt x="2683296" y="3169179"/>
                  <a:pt x="2425103" y="3448050"/>
                </a:cubicBezTo>
                <a:cubicBezTo>
                  <a:pt x="2085378" y="3770842"/>
                  <a:pt x="1577456" y="4305248"/>
                  <a:pt x="1423945" y="4416425"/>
                </a:cubicBezTo>
                <a:cubicBezTo>
                  <a:pt x="1264137" y="4513792"/>
                  <a:pt x="1117091" y="4570994"/>
                  <a:pt x="926503" y="4575175"/>
                </a:cubicBezTo>
                <a:cubicBezTo>
                  <a:pt x="760586" y="4565974"/>
                  <a:pt x="551689" y="4513792"/>
                  <a:pt x="326182" y="4292601"/>
                </a:cubicBezTo>
                <a:cubicBezTo>
                  <a:pt x="224582" y="4167718"/>
                  <a:pt x="95142" y="3979991"/>
                  <a:pt x="87541" y="3831710"/>
                </a:cubicBezTo>
                <a:cubicBezTo>
                  <a:pt x="74028" y="3613139"/>
                  <a:pt x="142032" y="3466042"/>
                  <a:pt x="224582" y="3309938"/>
                </a:cubicBezTo>
                <a:cubicBezTo>
                  <a:pt x="366481" y="3129492"/>
                  <a:pt x="387729" y="3095096"/>
                  <a:pt x="574078" y="2901950"/>
                </a:cubicBezTo>
                <a:cubicBezTo>
                  <a:pt x="656800" y="2780920"/>
                  <a:pt x="692307" y="2737709"/>
                  <a:pt x="747941" y="2592764"/>
                </a:cubicBezTo>
                <a:cubicBezTo>
                  <a:pt x="772043" y="2492863"/>
                  <a:pt x="805002" y="2386884"/>
                  <a:pt x="799773" y="2221468"/>
                </a:cubicBezTo>
                <a:cubicBezTo>
                  <a:pt x="779744" y="1998341"/>
                  <a:pt x="738660" y="1938002"/>
                  <a:pt x="635486" y="1753414"/>
                </a:cubicBezTo>
                <a:cubicBezTo>
                  <a:pt x="563645" y="1664785"/>
                  <a:pt x="442254" y="1567148"/>
                  <a:pt x="343386" y="1469510"/>
                </a:cubicBezTo>
                <a:cubicBezTo>
                  <a:pt x="260028" y="1389435"/>
                  <a:pt x="251498" y="1394326"/>
                  <a:pt x="144348" y="1245938"/>
                </a:cubicBezTo>
                <a:cubicBezTo>
                  <a:pt x="-34873" y="1025479"/>
                  <a:pt x="-10179" y="786616"/>
                  <a:pt x="24803" y="606206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99870821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9" grpId="0"/>
      <p:bldP spid="10" grpId="0"/>
      <p:bldP spid="11" grpId="0"/>
      <p:bldP spid="12" grpId="0"/>
      <p:bldP spid="13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11938000" y="6502400"/>
            <a:ext cx="212725" cy="2301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endParaRPr lang="en-IN" sz="9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98715" y="6007289"/>
            <a:ext cx="253947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b="1" dirty="0" smtClean="0">
                <a:solidFill>
                  <a:schemeClr val="bg1"/>
                </a:solidFill>
              </a:rPr>
              <a:t>www.sterlitetech.com</a:t>
            </a:r>
            <a:endParaRPr lang="en-IN" sz="2000" b="1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4F089236-BCEC-D241-BB18-D0F34E4A91E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715" y="548641"/>
            <a:ext cx="2946989" cy="539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79269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© 2019-2020 </a:t>
            </a:r>
            <a:r>
              <a:rPr lang="en-IN" smtClean="0"/>
              <a:t>Sterlite Technologies Limited</a:t>
            </a:r>
            <a:endParaRPr lang="en-US" dirty="0"/>
          </a:p>
        </p:txBody>
      </p:sp>
      <p:sp>
        <p:nvSpPr>
          <p:cNvPr id="17" name="Slide Number Placeholder 3"/>
          <p:cNvSpPr>
            <a:spLocks noGrp="1"/>
          </p:cNvSpPr>
          <p:nvPr>
            <p:ph type="sldNum" sz="quarter" idx="2"/>
          </p:nvPr>
        </p:nvSpPr>
        <p:spPr>
          <a:xfrm>
            <a:off x="11924168" y="6896541"/>
            <a:ext cx="245751" cy="225709"/>
          </a:xfrm>
        </p:spPr>
        <p:txBody>
          <a:bodyPr/>
          <a:lstStyle/>
          <a:p>
            <a:fld id="{86CB4B4D-7CA3-9044-876B-883B54F8677D}" type="slidenum">
              <a:rPr lang="en-IN" smtClean="0"/>
              <a:t>26</a:t>
            </a:fld>
            <a:endParaRPr lang="en-IN"/>
          </a:p>
        </p:txBody>
      </p:sp>
      <p:sp>
        <p:nvSpPr>
          <p:cNvPr id="18" name="Title 5"/>
          <p:cNvSpPr txBox="1">
            <a:spLocks/>
          </p:cNvSpPr>
          <p:nvPr/>
        </p:nvSpPr>
        <p:spPr>
          <a:xfrm>
            <a:off x="4056133" y="950017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R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2pPr>
            <a:lvl3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3pPr>
            <a:lvl4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4pPr>
            <a:lvl5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5pPr>
            <a:lvl6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6pPr>
            <a:lvl7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7pPr>
            <a:lvl8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8pPr>
            <a:lvl9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9pPr>
          </a:lstStyle>
          <a:p>
            <a:r>
              <a:rPr lang="en-IN" dirty="0"/>
              <a:t>About Us</a:t>
            </a:r>
          </a:p>
        </p:txBody>
      </p:sp>
      <p:sp>
        <p:nvSpPr>
          <p:cNvPr id="19" name="Title 5"/>
          <p:cNvSpPr txBox="1">
            <a:spLocks/>
          </p:cNvSpPr>
          <p:nvPr/>
        </p:nvSpPr>
        <p:spPr>
          <a:xfrm>
            <a:off x="4833430" y="4269410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R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2pPr>
            <a:lvl3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3pPr>
            <a:lvl4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4pPr>
            <a:lvl5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5pPr>
            <a:lvl6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6pPr>
            <a:lvl7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7pPr>
            <a:lvl8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8pPr>
            <a:lvl9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9pPr>
          </a:lstStyle>
          <a:p>
            <a:r>
              <a:rPr lang="en-US" dirty="0"/>
              <a:t>STL has the KEY</a:t>
            </a:r>
            <a:endParaRPr lang="en-IN" kern="0" dirty="0"/>
          </a:p>
        </p:txBody>
      </p:sp>
      <p:sp>
        <p:nvSpPr>
          <p:cNvPr id="20" name="Title 5"/>
          <p:cNvSpPr txBox="1">
            <a:spLocks/>
          </p:cNvSpPr>
          <p:nvPr/>
        </p:nvSpPr>
        <p:spPr>
          <a:xfrm>
            <a:off x="5262920" y="3788917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endParaRPr lang="en-IN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1" name="Title 5"/>
          <p:cNvSpPr txBox="1">
            <a:spLocks/>
          </p:cNvSpPr>
          <p:nvPr/>
        </p:nvSpPr>
        <p:spPr>
          <a:xfrm>
            <a:off x="5262920" y="3923116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endParaRPr lang="en-IN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2" name="Title 5"/>
          <p:cNvSpPr txBox="1">
            <a:spLocks/>
          </p:cNvSpPr>
          <p:nvPr/>
        </p:nvSpPr>
        <p:spPr>
          <a:xfrm>
            <a:off x="4638023" y="4760365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endParaRPr lang="en-IN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4" name="Title 5"/>
          <p:cNvSpPr txBox="1">
            <a:spLocks/>
          </p:cNvSpPr>
          <p:nvPr/>
        </p:nvSpPr>
        <p:spPr>
          <a:xfrm>
            <a:off x="5415320" y="2507062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R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2pPr>
            <a:lvl3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3pPr>
            <a:lvl4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4pPr>
            <a:lvl5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5pPr>
            <a:lvl6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6pPr>
            <a:lvl7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7pPr>
            <a:lvl8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8pPr>
            <a:lvl9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9pPr>
          </a:lstStyle>
          <a:p>
            <a:r>
              <a:rPr lang="en-IN" dirty="0"/>
              <a:t>Network Concerns &amp; Solution</a:t>
            </a:r>
          </a:p>
        </p:txBody>
      </p:sp>
      <p:sp>
        <p:nvSpPr>
          <p:cNvPr id="25" name="Title 5"/>
          <p:cNvSpPr txBox="1">
            <a:spLocks/>
          </p:cNvSpPr>
          <p:nvPr/>
        </p:nvSpPr>
        <p:spPr>
          <a:xfrm>
            <a:off x="5415320" y="3415581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R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2pPr>
            <a:lvl3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3pPr>
            <a:lvl4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4pPr>
            <a:lvl5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5pPr>
            <a:lvl6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6pPr>
            <a:lvl7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7pPr>
            <a:lvl8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8pPr>
            <a:lvl9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9pPr>
          </a:lstStyle>
          <a:p>
            <a:r>
              <a:rPr lang="en-IN" dirty="0"/>
              <a:t>Border Concerns &amp; Solution</a:t>
            </a:r>
          </a:p>
        </p:txBody>
      </p:sp>
      <p:sp>
        <p:nvSpPr>
          <p:cNvPr id="26" name="Title 5"/>
          <p:cNvSpPr txBox="1">
            <a:spLocks/>
          </p:cNvSpPr>
          <p:nvPr/>
        </p:nvSpPr>
        <p:spPr>
          <a:xfrm>
            <a:off x="4056133" y="5013784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R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kern="0" cap="none" spc="0" baseline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2pPr>
            <a:lvl3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3pPr>
            <a:lvl4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4pPr>
            <a:lvl5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5pPr>
            <a:lvl6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6pPr>
            <a:lvl7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7pPr>
            <a:lvl8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8pPr>
            <a:lvl9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9pPr>
          </a:lstStyle>
          <a:p>
            <a:r>
              <a:rPr lang="en-IN" dirty="0"/>
              <a:t>Partner Ecosystem</a:t>
            </a:r>
          </a:p>
        </p:txBody>
      </p:sp>
      <p:sp>
        <p:nvSpPr>
          <p:cNvPr id="27" name="Title 5"/>
          <p:cNvSpPr txBox="1">
            <a:spLocks/>
          </p:cNvSpPr>
          <p:nvPr/>
        </p:nvSpPr>
        <p:spPr>
          <a:xfrm>
            <a:off x="4833430" y="1721612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r>
              <a:rPr lang="en-US" dirty="0" smtClean="0">
                <a:solidFill>
                  <a:schemeClr val="bg1">
                    <a:lumMod val="85000"/>
                  </a:schemeClr>
                </a:solidFill>
              </a:rPr>
              <a:t>Customer Base</a:t>
            </a:r>
            <a:endParaRPr lang="en-IN" kern="0" dirty="0">
              <a:solidFill>
                <a:schemeClr val="bg1">
                  <a:lumMod val="85000"/>
                </a:schemeClr>
              </a:solidFill>
            </a:endParaRPr>
          </a:p>
        </p:txBody>
      </p:sp>
      <p:pic>
        <p:nvPicPr>
          <p:cNvPr id="9" name="Picture Placeholder 8"/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834" r="29834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00689949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Picture Placeholder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854" r="31854"/>
          <a:stretch>
            <a:fillRect/>
          </a:stretch>
        </p:blipFill>
        <p:spPr>
          <a:xfrm>
            <a:off x="6518618" y="469958"/>
            <a:ext cx="5159165" cy="7435199"/>
          </a:xfrm>
          <a:custGeom>
            <a:avLst/>
            <a:gdLst>
              <a:gd name="connsiteX0" fmla="*/ 0 w 4552950"/>
              <a:gd name="connsiteY0" fmla="*/ 0 h 4260850"/>
              <a:gd name="connsiteX1" fmla="*/ 2422525 w 4552950"/>
              <a:gd name="connsiteY1" fmla="*/ 0 h 4260850"/>
              <a:gd name="connsiteX2" fmla="*/ 4552950 w 4552950"/>
              <a:gd name="connsiteY2" fmla="*/ 2130425 h 4260850"/>
              <a:gd name="connsiteX3" fmla="*/ 2422525 w 4552950"/>
              <a:gd name="connsiteY3" fmla="*/ 4260850 h 4260850"/>
              <a:gd name="connsiteX4" fmla="*/ 0 w 4552950"/>
              <a:gd name="connsiteY4" fmla="*/ 4260850 h 4260850"/>
              <a:gd name="connsiteX5" fmla="*/ 2130425 w 4552950"/>
              <a:gd name="connsiteY5" fmla="*/ 2130425 h 4260850"/>
              <a:gd name="connsiteX6" fmla="*/ 0 w 4552950"/>
              <a:gd name="connsiteY6" fmla="*/ 0 h 426085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76594"/>
              <a:gd name="connsiteY0" fmla="*/ 107950 h 4368800"/>
              <a:gd name="connsiteX1" fmla="*/ 2225675 w 4576594"/>
              <a:gd name="connsiteY1" fmla="*/ 0 h 4368800"/>
              <a:gd name="connsiteX2" fmla="*/ 3482729 w 4576594"/>
              <a:gd name="connsiteY2" fmla="*/ 1184275 h 4368800"/>
              <a:gd name="connsiteX3" fmla="*/ 4552950 w 4576594"/>
              <a:gd name="connsiteY3" fmla="*/ 2238375 h 4368800"/>
              <a:gd name="connsiteX4" fmla="*/ 2422525 w 4576594"/>
              <a:gd name="connsiteY4" fmla="*/ 4368800 h 4368800"/>
              <a:gd name="connsiteX5" fmla="*/ 0 w 4576594"/>
              <a:gd name="connsiteY5" fmla="*/ 4368800 h 4368800"/>
              <a:gd name="connsiteX6" fmla="*/ 2130425 w 4576594"/>
              <a:gd name="connsiteY6" fmla="*/ 2238375 h 4368800"/>
              <a:gd name="connsiteX7" fmla="*/ 0 w 4576594"/>
              <a:gd name="connsiteY7" fmla="*/ 107950 h 4368800"/>
              <a:gd name="connsiteX0" fmla="*/ 0 w 4574056"/>
              <a:gd name="connsiteY0" fmla="*/ 107950 h 4368800"/>
              <a:gd name="connsiteX1" fmla="*/ 2225675 w 4574056"/>
              <a:gd name="connsiteY1" fmla="*/ 0 h 4368800"/>
              <a:gd name="connsiteX2" fmla="*/ 3362079 w 4574056"/>
              <a:gd name="connsiteY2" fmla="*/ 1019175 h 4368800"/>
              <a:gd name="connsiteX3" fmla="*/ 4552950 w 4574056"/>
              <a:gd name="connsiteY3" fmla="*/ 2238375 h 4368800"/>
              <a:gd name="connsiteX4" fmla="*/ 2422525 w 4574056"/>
              <a:gd name="connsiteY4" fmla="*/ 4368800 h 4368800"/>
              <a:gd name="connsiteX5" fmla="*/ 0 w 4574056"/>
              <a:gd name="connsiteY5" fmla="*/ 4368800 h 4368800"/>
              <a:gd name="connsiteX6" fmla="*/ 2130425 w 4574056"/>
              <a:gd name="connsiteY6" fmla="*/ 2238375 h 4368800"/>
              <a:gd name="connsiteX7" fmla="*/ 0 w 4574056"/>
              <a:gd name="connsiteY7" fmla="*/ 107950 h 4368800"/>
              <a:gd name="connsiteX0" fmla="*/ 0 w 4574056"/>
              <a:gd name="connsiteY0" fmla="*/ 107950 h 4368800"/>
              <a:gd name="connsiteX1" fmla="*/ 1946029 w 4574056"/>
              <a:gd name="connsiteY1" fmla="*/ 15875 h 4368800"/>
              <a:gd name="connsiteX2" fmla="*/ 2225675 w 4574056"/>
              <a:gd name="connsiteY2" fmla="*/ 0 h 4368800"/>
              <a:gd name="connsiteX3" fmla="*/ 3362079 w 4574056"/>
              <a:gd name="connsiteY3" fmla="*/ 1019175 h 4368800"/>
              <a:gd name="connsiteX4" fmla="*/ 4552950 w 4574056"/>
              <a:gd name="connsiteY4" fmla="*/ 2238375 h 4368800"/>
              <a:gd name="connsiteX5" fmla="*/ 2422525 w 4574056"/>
              <a:gd name="connsiteY5" fmla="*/ 4368800 h 4368800"/>
              <a:gd name="connsiteX6" fmla="*/ 0 w 4574056"/>
              <a:gd name="connsiteY6" fmla="*/ 4368800 h 4368800"/>
              <a:gd name="connsiteX7" fmla="*/ 2130425 w 4574056"/>
              <a:gd name="connsiteY7" fmla="*/ 2238375 h 4368800"/>
              <a:gd name="connsiteX8" fmla="*/ 0 w 4574056"/>
              <a:gd name="connsiteY8" fmla="*/ 107950 h 4368800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3614049"/>
              <a:gd name="connsiteY0" fmla="*/ 155575 h 4416425"/>
              <a:gd name="connsiteX1" fmla="*/ 1888879 w 3614049"/>
              <a:gd name="connsiteY1" fmla="*/ 0 h 4416425"/>
              <a:gd name="connsiteX2" fmla="*/ 2225675 w 3614049"/>
              <a:gd name="connsiteY2" fmla="*/ 47625 h 4416425"/>
              <a:gd name="connsiteX3" fmla="*/ 3362079 w 3614049"/>
              <a:gd name="connsiteY3" fmla="*/ 1066800 h 4416425"/>
              <a:gd name="connsiteX4" fmla="*/ 3441700 w 3614049"/>
              <a:gd name="connsiteY4" fmla="*/ 3448050 h 4416425"/>
              <a:gd name="connsiteX5" fmla="*/ 2422525 w 3614049"/>
              <a:gd name="connsiteY5" fmla="*/ 4416425 h 4416425"/>
              <a:gd name="connsiteX6" fmla="*/ 0 w 3614049"/>
              <a:gd name="connsiteY6" fmla="*/ 4416425 h 4416425"/>
              <a:gd name="connsiteX7" fmla="*/ 2130425 w 3614049"/>
              <a:gd name="connsiteY7" fmla="*/ 2286000 h 4416425"/>
              <a:gd name="connsiteX8" fmla="*/ 0 w 3614049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2130425 w 4199688"/>
              <a:gd name="connsiteY7" fmla="*/ 228600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831975 w 4199688"/>
              <a:gd name="connsiteY7" fmla="*/ 22796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834779 w 4199688"/>
              <a:gd name="connsiteY8" fmla="*/ 16065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488829 w 4199688"/>
              <a:gd name="connsiteY8" fmla="*/ 15938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526929 w 4199688"/>
              <a:gd name="connsiteY8" fmla="*/ 21907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0 w 4199688"/>
              <a:gd name="connsiteY11" fmla="*/ 1555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476129 w 4199688"/>
              <a:gd name="connsiteY1" fmla="*/ 2794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9845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212151"/>
              <a:gd name="connsiteY0" fmla="*/ 574675 h 4416425"/>
              <a:gd name="connsiteX1" fmla="*/ 1361829 w 4212151"/>
              <a:gd name="connsiteY1" fmla="*/ 190501 h 4416425"/>
              <a:gd name="connsiteX2" fmla="*/ 1888879 w 4212151"/>
              <a:gd name="connsiteY2" fmla="*/ 0 h 4416425"/>
              <a:gd name="connsiteX3" fmla="*/ 2225675 w 4212151"/>
              <a:gd name="connsiteY3" fmla="*/ 47625 h 4416425"/>
              <a:gd name="connsiteX4" fmla="*/ 2574679 w 4212151"/>
              <a:gd name="connsiteY4" fmla="*/ 279401 h 4416425"/>
              <a:gd name="connsiteX5" fmla="*/ 3362079 w 4212151"/>
              <a:gd name="connsiteY5" fmla="*/ 1066800 h 4416425"/>
              <a:gd name="connsiteX6" fmla="*/ 3441700 w 4212151"/>
              <a:gd name="connsiteY6" fmla="*/ 3448050 h 4416425"/>
              <a:gd name="connsiteX7" fmla="*/ 2422525 w 4212151"/>
              <a:gd name="connsiteY7" fmla="*/ 4416425 h 4416425"/>
              <a:gd name="connsiteX8" fmla="*/ 0 w 4212151"/>
              <a:gd name="connsiteY8" fmla="*/ 4416425 h 4416425"/>
              <a:gd name="connsiteX9" fmla="*/ 1590675 w 4212151"/>
              <a:gd name="connsiteY9" fmla="*/ 2901950 h 4416425"/>
              <a:gd name="connsiteX10" fmla="*/ 1825379 w 4212151"/>
              <a:gd name="connsiteY10" fmla="*/ 2203451 h 4416425"/>
              <a:gd name="connsiteX11" fmla="*/ 1647579 w 4212151"/>
              <a:gd name="connsiteY11" fmla="*/ 1739901 h 4416425"/>
              <a:gd name="connsiteX12" fmla="*/ 1355479 w 4212151"/>
              <a:gd name="connsiteY12" fmla="*/ 1460501 h 4416425"/>
              <a:gd name="connsiteX13" fmla="*/ 1041400 w 4212151"/>
              <a:gd name="connsiteY13" fmla="*/ 574675 h 4416425"/>
              <a:gd name="connsiteX0" fmla="*/ 1041400 w 4003839"/>
              <a:gd name="connsiteY0" fmla="*/ 574675 h 4416425"/>
              <a:gd name="connsiteX1" fmla="*/ 1361829 w 4003839"/>
              <a:gd name="connsiteY1" fmla="*/ 190501 h 4416425"/>
              <a:gd name="connsiteX2" fmla="*/ 1888879 w 4003839"/>
              <a:gd name="connsiteY2" fmla="*/ 0 h 4416425"/>
              <a:gd name="connsiteX3" fmla="*/ 2225675 w 4003839"/>
              <a:gd name="connsiteY3" fmla="*/ 47625 h 4416425"/>
              <a:gd name="connsiteX4" fmla="*/ 2574679 w 4003839"/>
              <a:gd name="connsiteY4" fmla="*/ 279401 h 4416425"/>
              <a:gd name="connsiteX5" fmla="*/ 3362079 w 4003839"/>
              <a:gd name="connsiteY5" fmla="*/ 1066800 h 4416425"/>
              <a:gd name="connsiteX6" fmla="*/ 4003430 w 4003839"/>
              <a:gd name="connsiteY6" fmla="*/ 2870201 h 4416425"/>
              <a:gd name="connsiteX7" fmla="*/ 3441700 w 4003839"/>
              <a:gd name="connsiteY7" fmla="*/ 3448050 h 4416425"/>
              <a:gd name="connsiteX8" fmla="*/ 2422525 w 4003839"/>
              <a:gd name="connsiteY8" fmla="*/ 4416425 h 4416425"/>
              <a:gd name="connsiteX9" fmla="*/ 0 w 4003839"/>
              <a:gd name="connsiteY9" fmla="*/ 4416425 h 4416425"/>
              <a:gd name="connsiteX10" fmla="*/ 1590675 w 4003839"/>
              <a:gd name="connsiteY10" fmla="*/ 2901950 h 4416425"/>
              <a:gd name="connsiteX11" fmla="*/ 1825379 w 4003839"/>
              <a:gd name="connsiteY11" fmla="*/ 2203451 h 4416425"/>
              <a:gd name="connsiteX12" fmla="*/ 1647579 w 4003839"/>
              <a:gd name="connsiteY12" fmla="*/ 1739901 h 4416425"/>
              <a:gd name="connsiteX13" fmla="*/ 1355479 w 4003839"/>
              <a:gd name="connsiteY13" fmla="*/ 1460501 h 4416425"/>
              <a:gd name="connsiteX14" fmla="*/ 1041400 w 4003839"/>
              <a:gd name="connsiteY14" fmla="*/ 574675 h 4416425"/>
              <a:gd name="connsiteX0" fmla="*/ 1041400 w 4187841"/>
              <a:gd name="connsiteY0" fmla="*/ 574675 h 4416425"/>
              <a:gd name="connsiteX1" fmla="*/ 1361829 w 4187841"/>
              <a:gd name="connsiteY1" fmla="*/ 190501 h 4416425"/>
              <a:gd name="connsiteX2" fmla="*/ 1888879 w 4187841"/>
              <a:gd name="connsiteY2" fmla="*/ 0 h 4416425"/>
              <a:gd name="connsiteX3" fmla="*/ 2225675 w 4187841"/>
              <a:gd name="connsiteY3" fmla="*/ 47625 h 4416425"/>
              <a:gd name="connsiteX4" fmla="*/ 2574679 w 4187841"/>
              <a:gd name="connsiteY4" fmla="*/ 279401 h 4416425"/>
              <a:gd name="connsiteX5" fmla="*/ 3362079 w 4187841"/>
              <a:gd name="connsiteY5" fmla="*/ 1066800 h 4416425"/>
              <a:gd name="connsiteX6" fmla="*/ 4187580 w 4187841"/>
              <a:gd name="connsiteY6" fmla="*/ 2279651 h 4416425"/>
              <a:gd name="connsiteX7" fmla="*/ 3441700 w 4187841"/>
              <a:gd name="connsiteY7" fmla="*/ 3448050 h 4416425"/>
              <a:gd name="connsiteX8" fmla="*/ 2422525 w 4187841"/>
              <a:gd name="connsiteY8" fmla="*/ 4416425 h 4416425"/>
              <a:gd name="connsiteX9" fmla="*/ 0 w 4187841"/>
              <a:gd name="connsiteY9" fmla="*/ 4416425 h 4416425"/>
              <a:gd name="connsiteX10" fmla="*/ 1590675 w 4187841"/>
              <a:gd name="connsiteY10" fmla="*/ 2901950 h 4416425"/>
              <a:gd name="connsiteX11" fmla="*/ 1825379 w 4187841"/>
              <a:gd name="connsiteY11" fmla="*/ 2203451 h 4416425"/>
              <a:gd name="connsiteX12" fmla="*/ 1647579 w 4187841"/>
              <a:gd name="connsiteY12" fmla="*/ 1739901 h 4416425"/>
              <a:gd name="connsiteX13" fmla="*/ 1355479 w 4187841"/>
              <a:gd name="connsiteY13" fmla="*/ 1460501 h 4416425"/>
              <a:gd name="connsiteX14" fmla="*/ 1041400 w 4187841"/>
              <a:gd name="connsiteY14" fmla="*/ 574675 h 4416425"/>
              <a:gd name="connsiteX0" fmla="*/ 1041400 w 4200656"/>
              <a:gd name="connsiteY0" fmla="*/ 574675 h 4416425"/>
              <a:gd name="connsiteX1" fmla="*/ 1361829 w 4200656"/>
              <a:gd name="connsiteY1" fmla="*/ 190501 h 4416425"/>
              <a:gd name="connsiteX2" fmla="*/ 1888879 w 4200656"/>
              <a:gd name="connsiteY2" fmla="*/ 0 h 4416425"/>
              <a:gd name="connsiteX3" fmla="*/ 2225675 w 4200656"/>
              <a:gd name="connsiteY3" fmla="*/ 47625 h 4416425"/>
              <a:gd name="connsiteX4" fmla="*/ 2574679 w 4200656"/>
              <a:gd name="connsiteY4" fmla="*/ 279401 h 4416425"/>
              <a:gd name="connsiteX5" fmla="*/ 3362079 w 4200656"/>
              <a:gd name="connsiteY5" fmla="*/ 1066800 h 4416425"/>
              <a:gd name="connsiteX6" fmla="*/ 3876430 w 4200656"/>
              <a:gd name="connsiteY6" fmla="*/ 1714501 h 4416425"/>
              <a:gd name="connsiteX7" fmla="*/ 4187580 w 4200656"/>
              <a:gd name="connsiteY7" fmla="*/ 2279651 h 4416425"/>
              <a:gd name="connsiteX8" fmla="*/ 3441700 w 4200656"/>
              <a:gd name="connsiteY8" fmla="*/ 3448050 h 4416425"/>
              <a:gd name="connsiteX9" fmla="*/ 2422525 w 4200656"/>
              <a:gd name="connsiteY9" fmla="*/ 4416425 h 4416425"/>
              <a:gd name="connsiteX10" fmla="*/ 0 w 4200656"/>
              <a:gd name="connsiteY10" fmla="*/ 4416425 h 4416425"/>
              <a:gd name="connsiteX11" fmla="*/ 1590675 w 4200656"/>
              <a:gd name="connsiteY11" fmla="*/ 2901950 h 4416425"/>
              <a:gd name="connsiteX12" fmla="*/ 1825379 w 4200656"/>
              <a:gd name="connsiteY12" fmla="*/ 2203451 h 4416425"/>
              <a:gd name="connsiteX13" fmla="*/ 1647579 w 4200656"/>
              <a:gd name="connsiteY13" fmla="*/ 1739901 h 4416425"/>
              <a:gd name="connsiteX14" fmla="*/ 1355479 w 4200656"/>
              <a:gd name="connsiteY14" fmla="*/ 1460501 h 4416425"/>
              <a:gd name="connsiteX15" fmla="*/ 1041400 w 4200656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3672"/>
              <a:gd name="connsiteY0" fmla="*/ 574675 h 4416425"/>
              <a:gd name="connsiteX1" fmla="*/ 1361829 w 4203672"/>
              <a:gd name="connsiteY1" fmla="*/ 190501 h 4416425"/>
              <a:gd name="connsiteX2" fmla="*/ 1888879 w 4203672"/>
              <a:gd name="connsiteY2" fmla="*/ 0 h 4416425"/>
              <a:gd name="connsiteX3" fmla="*/ 2225675 w 4203672"/>
              <a:gd name="connsiteY3" fmla="*/ 47625 h 4416425"/>
              <a:gd name="connsiteX4" fmla="*/ 2574679 w 4203672"/>
              <a:gd name="connsiteY4" fmla="*/ 279401 h 4416425"/>
              <a:gd name="connsiteX5" fmla="*/ 3362079 w 4203672"/>
              <a:gd name="connsiteY5" fmla="*/ 1066800 h 4416425"/>
              <a:gd name="connsiteX6" fmla="*/ 3952630 w 4203672"/>
              <a:gd name="connsiteY6" fmla="*/ 1663701 h 4416425"/>
              <a:gd name="connsiteX7" fmla="*/ 4187580 w 4203672"/>
              <a:gd name="connsiteY7" fmla="*/ 2279651 h 4416425"/>
              <a:gd name="connsiteX8" fmla="*/ 3441700 w 4203672"/>
              <a:gd name="connsiteY8" fmla="*/ 3448050 h 4416425"/>
              <a:gd name="connsiteX9" fmla="*/ 2422525 w 4203672"/>
              <a:gd name="connsiteY9" fmla="*/ 4416425 h 4416425"/>
              <a:gd name="connsiteX10" fmla="*/ 0 w 4203672"/>
              <a:gd name="connsiteY10" fmla="*/ 4416425 h 4416425"/>
              <a:gd name="connsiteX11" fmla="*/ 1590675 w 4203672"/>
              <a:gd name="connsiteY11" fmla="*/ 2901950 h 4416425"/>
              <a:gd name="connsiteX12" fmla="*/ 1825379 w 4203672"/>
              <a:gd name="connsiteY12" fmla="*/ 2203451 h 4416425"/>
              <a:gd name="connsiteX13" fmla="*/ 1647579 w 4203672"/>
              <a:gd name="connsiteY13" fmla="*/ 1739901 h 4416425"/>
              <a:gd name="connsiteX14" fmla="*/ 1355479 w 4203672"/>
              <a:gd name="connsiteY14" fmla="*/ 1460501 h 4416425"/>
              <a:gd name="connsiteX15" fmla="*/ 1041400 w 4203672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441700 w 4191105"/>
              <a:gd name="connsiteY8" fmla="*/ 3448050 h 4416425"/>
              <a:gd name="connsiteX9" fmla="*/ 2422525 w 4191105"/>
              <a:gd name="connsiteY9" fmla="*/ 4416425 h 4416425"/>
              <a:gd name="connsiteX10" fmla="*/ 0 w 4191105"/>
              <a:gd name="connsiteY10" fmla="*/ 4416425 h 4416425"/>
              <a:gd name="connsiteX11" fmla="*/ 1590675 w 4191105"/>
              <a:gd name="connsiteY11" fmla="*/ 2901950 h 4416425"/>
              <a:gd name="connsiteX12" fmla="*/ 1825379 w 4191105"/>
              <a:gd name="connsiteY12" fmla="*/ 2203451 h 4416425"/>
              <a:gd name="connsiteX13" fmla="*/ 1647579 w 4191105"/>
              <a:gd name="connsiteY13" fmla="*/ 1739901 h 4416425"/>
              <a:gd name="connsiteX14" fmla="*/ 1355479 w 4191105"/>
              <a:gd name="connsiteY14" fmla="*/ 1460501 h 4416425"/>
              <a:gd name="connsiteX15" fmla="*/ 1041400 w 4191105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971680 w 4191105"/>
              <a:gd name="connsiteY8" fmla="*/ 27432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4035180 w 4191105"/>
              <a:gd name="connsiteY8" fmla="*/ 28194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838278 w 3172386"/>
              <a:gd name="connsiteY12" fmla="*/ 418465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393778 w 3172386"/>
              <a:gd name="connsiteY13" fmla="*/ 385445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996 w 3163824"/>
              <a:gd name="connsiteY0" fmla="*/ 633232 h 4575175"/>
              <a:gd name="connsiteX1" fmla="*/ 334416 w 3163824"/>
              <a:gd name="connsiteY1" fmla="*/ 190501 h 4575175"/>
              <a:gd name="connsiteX2" fmla="*/ 861466 w 3163824"/>
              <a:gd name="connsiteY2" fmla="*/ 0 h 4575175"/>
              <a:gd name="connsiteX3" fmla="*/ 1198262 w 3163824"/>
              <a:gd name="connsiteY3" fmla="*/ 47625 h 4575175"/>
              <a:gd name="connsiteX4" fmla="*/ 1547266 w 3163824"/>
              <a:gd name="connsiteY4" fmla="*/ 279401 h 4575175"/>
              <a:gd name="connsiteX5" fmla="*/ 2334666 w 3163824"/>
              <a:gd name="connsiteY5" fmla="*/ 1066800 h 4575175"/>
              <a:gd name="connsiteX6" fmla="*/ 2925217 w 3163824"/>
              <a:gd name="connsiteY6" fmla="*/ 1663701 h 4575175"/>
              <a:gd name="connsiteX7" fmla="*/ 3160167 w 3163824"/>
              <a:gd name="connsiteY7" fmla="*/ 2279651 h 4575175"/>
              <a:gd name="connsiteX8" fmla="*/ 2950617 w 3163824"/>
              <a:gd name="connsiteY8" fmla="*/ 2882901 h 4575175"/>
              <a:gd name="connsiteX9" fmla="*/ 2414287 w 3163824"/>
              <a:gd name="connsiteY9" fmla="*/ 3448050 h 4575175"/>
              <a:gd name="connsiteX10" fmla="*/ 1395112 w 3163824"/>
              <a:gd name="connsiteY10" fmla="*/ 4416425 h 4575175"/>
              <a:gd name="connsiteX11" fmla="*/ 915687 w 3163824"/>
              <a:gd name="connsiteY11" fmla="*/ 4575175 h 4575175"/>
              <a:gd name="connsiteX12" fmla="*/ 315366 w 3163824"/>
              <a:gd name="connsiteY12" fmla="*/ 4292601 h 4575175"/>
              <a:gd name="connsiteX13" fmla="*/ 67716 w 3163824"/>
              <a:gd name="connsiteY13" fmla="*/ 3822701 h 4575175"/>
              <a:gd name="connsiteX14" fmla="*/ 213766 w 3163824"/>
              <a:gd name="connsiteY14" fmla="*/ 3309938 h 4575175"/>
              <a:gd name="connsiteX15" fmla="*/ 563262 w 3163824"/>
              <a:gd name="connsiteY15" fmla="*/ 2901950 h 4575175"/>
              <a:gd name="connsiteX16" fmla="*/ 797966 w 3163824"/>
              <a:gd name="connsiteY16" fmla="*/ 2203451 h 4575175"/>
              <a:gd name="connsiteX17" fmla="*/ 620166 w 3163824"/>
              <a:gd name="connsiteY17" fmla="*/ 1739901 h 4575175"/>
              <a:gd name="connsiteX18" fmla="*/ 328066 w 3163824"/>
              <a:gd name="connsiteY18" fmla="*/ 1460501 h 4575175"/>
              <a:gd name="connsiteX19" fmla="*/ 22996 w 3163824"/>
              <a:gd name="connsiteY19" fmla="*/ 633232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597196 w 3172385"/>
              <a:gd name="connsiteY17" fmla="*/ 179395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332 w 3172169"/>
              <a:gd name="connsiteY0" fmla="*/ 606206 h 4575175"/>
              <a:gd name="connsiteX1" fmla="*/ 342761 w 3172169"/>
              <a:gd name="connsiteY1" fmla="*/ 190501 h 4575175"/>
              <a:gd name="connsiteX2" fmla="*/ 869811 w 3172169"/>
              <a:gd name="connsiteY2" fmla="*/ 0 h 4575175"/>
              <a:gd name="connsiteX3" fmla="*/ 1206607 w 3172169"/>
              <a:gd name="connsiteY3" fmla="*/ 47625 h 4575175"/>
              <a:gd name="connsiteX4" fmla="*/ 1555611 w 3172169"/>
              <a:gd name="connsiteY4" fmla="*/ 279401 h 4575175"/>
              <a:gd name="connsiteX5" fmla="*/ 2343011 w 3172169"/>
              <a:gd name="connsiteY5" fmla="*/ 1066800 h 4575175"/>
              <a:gd name="connsiteX6" fmla="*/ 2933562 w 3172169"/>
              <a:gd name="connsiteY6" fmla="*/ 1663701 h 4575175"/>
              <a:gd name="connsiteX7" fmla="*/ 3168512 w 3172169"/>
              <a:gd name="connsiteY7" fmla="*/ 2279651 h 4575175"/>
              <a:gd name="connsiteX8" fmla="*/ 2958962 w 3172169"/>
              <a:gd name="connsiteY8" fmla="*/ 2882901 h 4575175"/>
              <a:gd name="connsiteX9" fmla="*/ 2422632 w 3172169"/>
              <a:gd name="connsiteY9" fmla="*/ 3448050 h 4575175"/>
              <a:gd name="connsiteX10" fmla="*/ 1403457 w 3172169"/>
              <a:gd name="connsiteY10" fmla="*/ 4416425 h 4575175"/>
              <a:gd name="connsiteX11" fmla="*/ 924032 w 3172169"/>
              <a:gd name="connsiteY11" fmla="*/ 4575175 h 4575175"/>
              <a:gd name="connsiteX12" fmla="*/ 323711 w 3172169"/>
              <a:gd name="connsiteY12" fmla="*/ 4292601 h 4575175"/>
              <a:gd name="connsiteX13" fmla="*/ 76061 w 3172169"/>
              <a:gd name="connsiteY13" fmla="*/ 3822701 h 4575175"/>
              <a:gd name="connsiteX14" fmla="*/ 222111 w 3172169"/>
              <a:gd name="connsiteY14" fmla="*/ 3309938 h 4575175"/>
              <a:gd name="connsiteX15" fmla="*/ 571607 w 3172169"/>
              <a:gd name="connsiteY15" fmla="*/ 2901950 h 4575175"/>
              <a:gd name="connsiteX16" fmla="*/ 806311 w 3172169"/>
              <a:gd name="connsiteY16" fmla="*/ 2203451 h 4575175"/>
              <a:gd name="connsiteX17" fmla="*/ 633015 w 3172169"/>
              <a:gd name="connsiteY17" fmla="*/ 1753414 h 4575175"/>
              <a:gd name="connsiteX18" fmla="*/ 340915 w 3172169"/>
              <a:gd name="connsiteY18" fmla="*/ 1469510 h 4575175"/>
              <a:gd name="connsiteX19" fmla="*/ 22332 w 3172169"/>
              <a:gd name="connsiteY19" fmla="*/ 606206 h 4575175"/>
              <a:gd name="connsiteX0" fmla="*/ 22747 w 3172584"/>
              <a:gd name="connsiteY0" fmla="*/ 606206 h 4575175"/>
              <a:gd name="connsiteX1" fmla="*/ 343176 w 3172584"/>
              <a:gd name="connsiteY1" fmla="*/ 190501 h 4575175"/>
              <a:gd name="connsiteX2" fmla="*/ 870226 w 3172584"/>
              <a:gd name="connsiteY2" fmla="*/ 0 h 4575175"/>
              <a:gd name="connsiteX3" fmla="*/ 1207022 w 3172584"/>
              <a:gd name="connsiteY3" fmla="*/ 47625 h 4575175"/>
              <a:gd name="connsiteX4" fmla="*/ 1556026 w 3172584"/>
              <a:gd name="connsiteY4" fmla="*/ 279401 h 4575175"/>
              <a:gd name="connsiteX5" fmla="*/ 2343426 w 3172584"/>
              <a:gd name="connsiteY5" fmla="*/ 1066800 h 4575175"/>
              <a:gd name="connsiteX6" fmla="*/ 2933977 w 3172584"/>
              <a:gd name="connsiteY6" fmla="*/ 1663701 h 4575175"/>
              <a:gd name="connsiteX7" fmla="*/ 3168927 w 3172584"/>
              <a:gd name="connsiteY7" fmla="*/ 2279651 h 4575175"/>
              <a:gd name="connsiteX8" fmla="*/ 2959377 w 3172584"/>
              <a:gd name="connsiteY8" fmla="*/ 2882901 h 4575175"/>
              <a:gd name="connsiteX9" fmla="*/ 2423047 w 3172584"/>
              <a:gd name="connsiteY9" fmla="*/ 3448050 h 4575175"/>
              <a:gd name="connsiteX10" fmla="*/ 1403872 w 3172584"/>
              <a:gd name="connsiteY10" fmla="*/ 4416425 h 4575175"/>
              <a:gd name="connsiteX11" fmla="*/ 924447 w 3172584"/>
              <a:gd name="connsiteY11" fmla="*/ 4575175 h 4575175"/>
              <a:gd name="connsiteX12" fmla="*/ 324126 w 3172584"/>
              <a:gd name="connsiteY12" fmla="*/ 4292601 h 4575175"/>
              <a:gd name="connsiteX13" fmla="*/ 76476 w 3172584"/>
              <a:gd name="connsiteY13" fmla="*/ 3822701 h 4575175"/>
              <a:gd name="connsiteX14" fmla="*/ 222526 w 3172584"/>
              <a:gd name="connsiteY14" fmla="*/ 3309938 h 4575175"/>
              <a:gd name="connsiteX15" fmla="*/ 572022 w 3172584"/>
              <a:gd name="connsiteY15" fmla="*/ 2901950 h 4575175"/>
              <a:gd name="connsiteX16" fmla="*/ 806726 w 3172584"/>
              <a:gd name="connsiteY16" fmla="*/ 2203451 h 4575175"/>
              <a:gd name="connsiteX17" fmla="*/ 633430 w 3172584"/>
              <a:gd name="connsiteY17" fmla="*/ 1753414 h 4575175"/>
              <a:gd name="connsiteX18" fmla="*/ 341330 w 3172584"/>
              <a:gd name="connsiteY18" fmla="*/ 1469510 h 4575175"/>
              <a:gd name="connsiteX19" fmla="*/ 22747 w 3172584"/>
              <a:gd name="connsiteY19" fmla="*/ 606206 h 4575175"/>
              <a:gd name="connsiteX0" fmla="*/ 21541 w 3171378"/>
              <a:gd name="connsiteY0" fmla="*/ 606206 h 4575175"/>
              <a:gd name="connsiteX1" fmla="*/ 341970 w 3171378"/>
              <a:gd name="connsiteY1" fmla="*/ 190501 h 4575175"/>
              <a:gd name="connsiteX2" fmla="*/ 869020 w 3171378"/>
              <a:gd name="connsiteY2" fmla="*/ 0 h 4575175"/>
              <a:gd name="connsiteX3" fmla="*/ 1205816 w 3171378"/>
              <a:gd name="connsiteY3" fmla="*/ 47625 h 4575175"/>
              <a:gd name="connsiteX4" fmla="*/ 1554820 w 3171378"/>
              <a:gd name="connsiteY4" fmla="*/ 279401 h 4575175"/>
              <a:gd name="connsiteX5" fmla="*/ 2342220 w 3171378"/>
              <a:gd name="connsiteY5" fmla="*/ 1066800 h 4575175"/>
              <a:gd name="connsiteX6" fmla="*/ 2932771 w 3171378"/>
              <a:gd name="connsiteY6" fmla="*/ 1663701 h 4575175"/>
              <a:gd name="connsiteX7" fmla="*/ 3167721 w 3171378"/>
              <a:gd name="connsiteY7" fmla="*/ 2279651 h 4575175"/>
              <a:gd name="connsiteX8" fmla="*/ 2958171 w 3171378"/>
              <a:gd name="connsiteY8" fmla="*/ 2882901 h 4575175"/>
              <a:gd name="connsiteX9" fmla="*/ 2421841 w 3171378"/>
              <a:gd name="connsiteY9" fmla="*/ 3448050 h 4575175"/>
              <a:gd name="connsiteX10" fmla="*/ 1402666 w 3171378"/>
              <a:gd name="connsiteY10" fmla="*/ 4416425 h 4575175"/>
              <a:gd name="connsiteX11" fmla="*/ 923241 w 3171378"/>
              <a:gd name="connsiteY11" fmla="*/ 4575175 h 4575175"/>
              <a:gd name="connsiteX12" fmla="*/ 322920 w 3171378"/>
              <a:gd name="connsiteY12" fmla="*/ 4292601 h 4575175"/>
              <a:gd name="connsiteX13" fmla="*/ 75270 w 3171378"/>
              <a:gd name="connsiteY13" fmla="*/ 3822701 h 4575175"/>
              <a:gd name="connsiteX14" fmla="*/ 221320 w 3171378"/>
              <a:gd name="connsiteY14" fmla="*/ 3309938 h 4575175"/>
              <a:gd name="connsiteX15" fmla="*/ 570816 w 3171378"/>
              <a:gd name="connsiteY15" fmla="*/ 2901950 h 4575175"/>
              <a:gd name="connsiteX16" fmla="*/ 805520 w 3171378"/>
              <a:gd name="connsiteY16" fmla="*/ 2203451 h 4575175"/>
              <a:gd name="connsiteX17" fmla="*/ 632224 w 3171378"/>
              <a:gd name="connsiteY17" fmla="*/ 1753414 h 4575175"/>
              <a:gd name="connsiteX18" fmla="*/ 340124 w 3171378"/>
              <a:gd name="connsiteY18" fmla="*/ 1469510 h 4575175"/>
              <a:gd name="connsiteX19" fmla="*/ 21541 w 3171378"/>
              <a:gd name="connsiteY19" fmla="*/ 606206 h 4575175"/>
              <a:gd name="connsiteX0" fmla="*/ 7707 w 3157544"/>
              <a:gd name="connsiteY0" fmla="*/ 606206 h 4575175"/>
              <a:gd name="connsiteX1" fmla="*/ 328136 w 3157544"/>
              <a:gd name="connsiteY1" fmla="*/ 190501 h 4575175"/>
              <a:gd name="connsiteX2" fmla="*/ 855186 w 3157544"/>
              <a:gd name="connsiteY2" fmla="*/ 0 h 4575175"/>
              <a:gd name="connsiteX3" fmla="*/ 1191982 w 3157544"/>
              <a:gd name="connsiteY3" fmla="*/ 47625 h 4575175"/>
              <a:gd name="connsiteX4" fmla="*/ 1540986 w 3157544"/>
              <a:gd name="connsiteY4" fmla="*/ 279401 h 4575175"/>
              <a:gd name="connsiteX5" fmla="*/ 2328386 w 3157544"/>
              <a:gd name="connsiteY5" fmla="*/ 1066800 h 4575175"/>
              <a:gd name="connsiteX6" fmla="*/ 2918937 w 3157544"/>
              <a:gd name="connsiteY6" fmla="*/ 1663701 h 4575175"/>
              <a:gd name="connsiteX7" fmla="*/ 3153887 w 3157544"/>
              <a:gd name="connsiteY7" fmla="*/ 2279651 h 4575175"/>
              <a:gd name="connsiteX8" fmla="*/ 2944337 w 3157544"/>
              <a:gd name="connsiteY8" fmla="*/ 2882901 h 4575175"/>
              <a:gd name="connsiteX9" fmla="*/ 2408007 w 3157544"/>
              <a:gd name="connsiteY9" fmla="*/ 3448050 h 4575175"/>
              <a:gd name="connsiteX10" fmla="*/ 1388832 w 3157544"/>
              <a:gd name="connsiteY10" fmla="*/ 4416425 h 4575175"/>
              <a:gd name="connsiteX11" fmla="*/ 909407 w 3157544"/>
              <a:gd name="connsiteY11" fmla="*/ 4575175 h 4575175"/>
              <a:gd name="connsiteX12" fmla="*/ 309086 w 3157544"/>
              <a:gd name="connsiteY12" fmla="*/ 4292601 h 4575175"/>
              <a:gd name="connsiteX13" fmla="*/ 61436 w 3157544"/>
              <a:gd name="connsiteY13" fmla="*/ 3822701 h 4575175"/>
              <a:gd name="connsiteX14" fmla="*/ 207486 w 3157544"/>
              <a:gd name="connsiteY14" fmla="*/ 3309938 h 4575175"/>
              <a:gd name="connsiteX15" fmla="*/ 556982 w 3157544"/>
              <a:gd name="connsiteY15" fmla="*/ 2901950 h 4575175"/>
              <a:gd name="connsiteX16" fmla="*/ 791686 w 3157544"/>
              <a:gd name="connsiteY16" fmla="*/ 2203451 h 4575175"/>
              <a:gd name="connsiteX17" fmla="*/ 618390 w 3157544"/>
              <a:gd name="connsiteY17" fmla="*/ 1753414 h 4575175"/>
              <a:gd name="connsiteX18" fmla="*/ 326290 w 3157544"/>
              <a:gd name="connsiteY18" fmla="*/ 1469510 h 4575175"/>
              <a:gd name="connsiteX19" fmla="*/ 118243 w 3157544"/>
              <a:gd name="connsiteY19" fmla="*/ 1272964 h 4575175"/>
              <a:gd name="connsiteX20" fmla="*/ 7707 w 3157544"/>
              <a:gd name="connsiteY20" fmla="*/ 606206 h 4575175"/>
              <a:gd name="connsiteX0" fmla="*/ 7180 w 3157017"/>
              <a:gd name="connsiteY0" fmla="*/ 606206 h 4575175"/>
              <a:gd name="connsiteX1" fmla="*/ 327609 w 3157017"/>
              <a:gd name="connsiteY1" fmla="*/ 190501 h 4575175"/>
              <a:gd name="connsiteX2" fmla="*/ 854659 w 3157017"/>
              <a:gd name="connsiteY2" fmla="*/ 0 h 4575175"/>
              <a:gd name="connsiteX3" fmla="*/ 1191455 w 3157017"/>
              <a:gd name="connsiteY3" fmla="*/ 47625 h 4575175"/>
              <a:gd name="connsiteX4" fmla="*/ 1540459 w 3157017"/>
              <a:gd name="connsiteY4" fmla="*/ 279401 h 4575175"/>
              <a:gd name="connsiteX5" fmla="*/ 2327859 w 3157017"/>
              <a:gd name="connsiteY5" fmla="*/ 1066800 h 4575175"/>
              <a:gd name="connsiteX6" fmla="*/ 2918410 w 3157017"/>
              <a:gd name="connsiteY6" fmla="*/ 1663701 h 4575175"/>
              <a:gd name="connsiteX7" fmla="*/ 3153360 w 3157017"/>
              <a:gd name="connsiteY7" fmla="*/ 2279651 h 4575175"/>
              <a:gd name="connsiteX8" fmla="*/ 2943810 w 3157017"/>
              <a:gd name="connsiteY8" fmla="*/ 2882901 h 4575175"/>
              <a:gd name="connsiteX9" fmla="*/ 2407480 w 3157017"/>
              <a:gd name="connsiteY9" fmla="*/ 3448050 h 4575175"/>
              <a:gd name="connsiteX10" fmla="*/ 1388305 w 3157017"/>
              <a:gd name="connsiteY10" fmla="*/ 4416425 h 4575175"/>
              <a:gd name="connsiteX11" fmla="*/ 908880 w 3157017"/>
              <a:gd name="connsiteY11" fmla="*/ 4575175 h 4575175"/>
              <a:gd name="connsiteX12" fmla="*/ 308559 w 3157017"/>
              <a:gd name="connsiteY12" fmla="*/ 4292601 h 4575175"/>
              <a:gd name="connsiteX13" fmla="*/ 60909 w 3157017"/>
              <a:gd name="connsiteY13" fmla="*/ 3822701 h 4575175"/>
              <a:gd name="connsiteX14" fmla="*/ 206959 w 3157017"/>
              <a:gd name="connsiteY14" fmla="*/ 3309938 h 4575175"/>
              <a:gd name="connsiteX15" fmla="*/ 556455 w 3157017"/>
              <a:gd name="connsiteY15" fmla="*/ 2901950 h 4575175"/>
              <a:gd name="connsiteX16" fmla="*/ 791159 w 3157017"/>
              <a:gd name="connsiteY16" fmla="*/ 2203451 h 4575175"/>
              <a:gd name="connsiteX17" fmla="*/ 617863 w 3157017"/>
              <a:gd name="connsiteY17" fmla="*/ 1753414 h 4575175"/>
              <a:gd name="connsiteX18" fmla="*/ 325763 w 3157017"/>
              <a:gd name="connsiteY18" fmla="*/ 1469510 h 4575175"/>
              <a:gd name="connsiteX19" fmla="*/ 126725 w 3157017"/>
              <a:gd name="connsiteY19" fmla="*/ 1245938 h 4575175"/>
              <a:gd name="connsiteX20" fmla="*/ 7180 w 3157017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20915 w 3174640"/>
              <a:gd name="connsiteY16" fmla="*/ 2583755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3174640" h="4575175">
                <a:moveTo>
                  <a:pt x="24803" y="606206"/>
                </a:moveTo>
                <a:cubicBezTo>
                  <a:pt x="125263" y="342139"/>
                  <a:pt x="225722" y="286809"/>
                  <a:pt x="345232" y="190501"/>
                </a:cubicBezTo>
                <a:cubicBezTo>
                  <a:pt x="609815" y="6351"/>
                  <a:pt x="747399" y="19050"/>
                  <a:pt x="872282" y="0"/>
                </a:cubicBezTo>
                <a:cubicBezTo>
                  <a:pt x="1009947" y="3175"/>
                  <a:pt x="1103163" y="6350"/>
                  <a:pt x="1209078" y="47625"/>
                </a:cubicBezTo>
                <a:cubicBezTo>
                  <a:pt x="1323378" y="97367"/>
                  <a:pt x="1368681" y="109539"/>
                  <a:pt x="1558082" y="279401"/>
                </a:cubicBezTo>
                <a:cubicBezTo>
                  <a:pt x="1664933" y="385763"/>
                  <a:pt x="2023179" y="738717"/>
                  <a:pt x="2345482" y="1066800"/>
                </a:cubicBezTo>
                <a:cubicBezTo>
                  <a:pt x="2562441" y="1305983"/>
                  <a:pt x="2792100" y="1499659"/>
                  <a:pt x="2936033" y="1663701"/>
                </a:cubicBezTo>
                <a:cubicBezTo>
                  <a:pt x="3060916" y="1821393"/>
                  <a:pt x="3198988" y="1990726"/>
                  <a:pt x="3170983" y="2279651"/>
                </a:cubicBezTo>
                <a:cubicBezTo>
                  <a:pt x="3174158" y="2459568"/>
                  <a:pt x="3130196" y="2656418"/>
                  <a:pt x="2961433" y="2882901"/>
                </a:cubicBezTo>
                <a:cubicBezTo>
                  <a:pt x="2779970" y="3083984"/>
                  <a:pt x="2683296" y="3169179"/>
                  <a:pt x="2425103" y="3448050"/>
                </a:cubicBezTo>
                <a:cubicBezTo>
                  <a:pt x="2085378" y="3770842"/>
                  <a:pt x="1577456" y="4305248"/>
                  <a:pt x="1423945" y="4416425"/>
                </a:cubicBezTo>
                <a:cubicBezTo>
                  <a:pt x="1264137" y="4513792"/>
                  <a:pt x="1117091" y="4570994"/>
                  <a:pt x="926503" y="4575175"/>
                </a:cubicBezTo>
                <a:cubicBezTo>
                  <a:pt x="760586" y="4565974"/>
                  <a:pt x="551689" y="4513792"/>
                  <a:pt x="326182" y="4292601"/>
                </a:cubicBezTo>
                <a:cubicBezTo>
                  <a:pt x="224582" y="4167718"/>
                  <a:pt x="95142" y="3979991"/>
                  <a:pt x="87541" y="3831710"/>
                </a:cubicBezTo>
                <a:cubicBezTo>
                  <a:pt x="74028" y="3613139"/>
                  <a:pt x="142032" y="3466042"/>
                  <a:pt x="224582" y="3309938"/>
                </a:cubicBezTo>
                <a:cubicBezTo>
                  <a:pt x="366481" y="3129492"/>
                  <a:pt x="387729" y="3095096"/>
                  <a:pt x="574078" y="2901950"/>
                </a:cubicBezTo>
                <a:cubicBezTo>
                  <a:pt x="656800" y="2780920"/>
                  <a:pt x="692307" y="2737709"/>
                  <a:pt x="747941" y="2592764"/>
                </a:cubicBezTo>
                <a:cubicBezTo>
                  <a:pt x="772043" y="2492863"/>
                  <a:pt x="805002" y="2386884"/>
                  <a:pt x="799773" y="2221468"/>
                </a:cubicBezTo>
                <a:cubicBezTo>
                  <a:pt x="779744" y="1998341"/>
                  <a:pt x="738660" y="1938002"/>
                  <a:pt x="635486" y="1753414"/>
                </a:cubicBezTo>
                <a:cubicBezTo>
                  <a:pt x="563645" y="1664785"/>
                  <a:pt x="442254" y="1567148"/>
                  <a:pt x="343386" y="1469510"/>
                </a:cubicBezTo>
                <a:cubicBezTo>
                  <a:pt x="260028" y="1389435"/>
                  <a:pt x="251498" y="1394326"/>
                  <a:pt x="144348" y="1245938"/>
                </a:cubicBezTo>
                <a:cubicBezTo>
                  <a:pt x="-34873" y="1025479"/>
                  <a:pt x="-10179" y="786616"/>
                  <a:pt x="24803" y="606206"/>
                </a:cubicBezTo>
                <a:close/>
              </a:path>
            </a:pathLst>
          </a:cu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chnology Partner Ecosystem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t>2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© 2019-2020 </a:t>
            </a:r>
            <a:r>
              <a:rPr lang="en-IN" smtClean="0"/>
              <a:t>Sterlite Technologies Limited</a:t>
            </a:r>
            <a:endParaRPr lang="en-US" dirty="0"/>
          </a:p>
        </p:txBody>
      </p:sp>
      <p:grpSp>
        <p:nvGrpSpPr>
          <p:cNvPr id="53" name="Group 52"/>
          <p:cNvGrpSpPr/>
          <p:nvPr/>
        </p:nvGrpSpPr>
        <p:grpSpPr>
          <a:xfrm>
            <a:off x="123585" y="1501843"/>
            <a:ext cx="4124897" cy="830995"/>
            <a:chOff x="123585" y="1501843"/>
            <a:chExt cx="4124897" cy="830995"/>
          </a:xfrm>
        </p:grpSpPr>
        <p:sp>
          <p:nvSpPr>
            <p:cNvPr id="9" name="Rectangle: Rounded Corners 1">
              <a:extLst>
                <a:ext uri="{FF2B5EF4-FFF2-40B4-BE49-F238E27FC236}">
                  <a16:creationId xmlns:a16="http://schemas.microsoft.com/office/drawing/2014/main" xmlns="" id="{697193E9-089F-1048-ACED-23DB2A1C272F}"/>
                </a:ext>
              </a:extLst>
            </p:cNvPr>
            <p:cNvSpPr/>
            <p:nvPr/>
          </p:nvSpPr>
          <p:spPr>
            <a:xfrm>
              <a:off x="123585" y="1537856"/>
              <a:ext cx="4124897" cy="758970"/>
            </a:xfrm>
            <a:prstGeom prst="roundRect">
              <a:avLst>
                <a:gd name="adj" fmla="val 10887"/>
              </a:avLst>
            </a:prstGeom>
            <a:solidFill>
              <a:schemeClr val="bg1"/>
            </a:solidFill>
            <a:ln w="12700" cap="flat">
              <a:noFill/>
              <a:prstDash val="solid"/>
              <a:miter lim="800000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  <a:softEdge rad="12700"/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hangingPunct="0"/>
              <a:endParaRPr lang="en-IN" sz="1600" dirty="0">
                <a:solidFill>
                  <a:srgbClr val="000000"/>
                </a:solidFill>
                <a:sym typeface="Calibri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463639" y="1501843"/>
              <a:ext cx="3443344" cy="83099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sz="24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sym typeface="Calibri"/>
                </a:rPr>
                <a:t>Optical </a:t>
              </a:r>
              <a:r>
                <a:rPr lang="en-US" sz="2400" dirty="0" err="1" smtClean="0">
                  <a:solidFill>
                    <a:schemeClr val="tx1">
                      <a:lumMod val="50000"/>
                      <a:lumOff val="50000"/>
                    </a:schemeClr>
                  </a:solidFill>
                  <a:sym typeface="Calibri"/>
                </a:rPr>
                <a:t>Fibre</a:t>
              </a:r>
              <a:r>
                <a:rPr lang="en-US" sz="24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sym typeface="Calibri"/>
                </a:rPr>
                <a:t> based Sensing Solution</a:t>
              </a:r>
              <a:endParaRPr kumimoji="0" lang="en-US" sz="24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endParaRPr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121953" y="2868790"/>
            <a:ext cx="4124897" cy="830995"/>
            <a:chOff x="121953" y="2868790"/>
            <a:chExt cx="4124897" cy="830995"/>
          </a:xfrm>
        </p:grpSpPr>
        <p:sp>
          <p:nvSpPr>
            <p:cNvPr id="8" name="Rectangle: Rounded Corners 1">
              <a:extLst>
                <a:ext uri="{FF2B5EF4-FFF2-40B4-BE49-F238E27FC236}">
                  <a16:creationId xmlns:a16="http://schemas.microsoft.com/office/drawing/2014/main" xmlns="" id="{697193E9-089F-1048-ACED-23DB2A1C272F}"/>
                </a:ext>
              </a:extLst>
            </p:cNvPr>
            <p:cNvSpPr/>
            <p:nvPr/>
          </p:nvSpPr>
          <p:spPr>
            <a:xfrm>
              <a:off x="121953" y="2904802"/>
              <a:ext cx="4124897" cy="758970"/>
            </a:xfrm>
            <a:prstGeom prst="roundRect">
              <a:avLst>
                <a:gd name="adj" fmla="val 10887"/>
              </a:avLst>
            </a:prstGeom>
            <a:solidFill>
              <a:schemeClr val="bg1"/>
            </a:solidFill>
            <a:ln w="12700" cap="flat">
              <a:noFill/>
              <a:prstDash val="solid"/>
              <a:miter lim="800000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  <a:softEdge rad="12700"/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hangingPunct="0"/>
              <a:endParaRPr lang="en-IN" sz="1600" dirty="0">
                <a:solidFill>
                  <a:srgbClr val="000000"/>
                </a:solidFill>
                <a:sym typeface="Calibri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463638" y="2868790"/>
              <a:ext cx="3443345" cy="83099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sz="24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sym typeface="Calibri"/>
                </a:rPr>
                <a:t>Command Control Centre &amp; IT Solution</a:t>
              </a:r>
              <a:endParaRPr kumimoji="0" lang="en-US" sz="24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endParaRP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121953" y="4235736"/>
            <a:ext cx="4124897" cy="830995"/>
            <a:chOff x="121953" y="4235736"/>
            <a:chExt cx="4124897" cy="830995"/>
          </a:xfrm>
        </p:grpSpPr>
        <p:sp>
          <p:nvSpPr>
            <p:cNvPr id="7" name="Rectangle: Rounded Corners 1">
              <a:extLst>
                <a:ext uri="{FF2B5EF4-FFF2-40B4-BE49-F238E27FC236}">
                  <a16:creationId xmlns:a16="http://schemas.microsoft.com/office/drawing/2014/main" xmlns="" id="{697193E9-089F-1048-ACED-23DB2A1C272F}"/>
                </a:ext>
              </a:extLst>
            </p:cNvPr>
            <p:cNvSpPr/>
            <p:nvPr/>
          </p:nvSpPr>
          <p:spPr>
            <a:xfrm>
              <a:off x="121953" y="4271749"/>
              <a:ext cx="4124897" cy="758970"/>
            </a:xfrm>
            <a:prstGeom prst="roundRect">
              <a:avLst>
                <a:gd name="adj" fmla="val 10887"/>
              </a:avLst>
            </a:prstGeom>
            <a:solidFill>
              <a:schemeClr val="bg1"/>
            </a:solidFill>
            <a:ln w="12700" cap="flat">
              <a:noFill/>
              <a:prstDash val="solid"/>
              <a:miter lim="800000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  <a:softEdge rad="12700"/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hangingPunct="0"/>
              <a:endParaRPr lang="en-IN" sz="1600" dirty="0">
                <a:solidFill>
                  <a:srgbClr val="000000"/>
                </a:solidFill>
                <a:sym typeface="Calibri"/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463638" y="4235736"/>
              <a:ext cx="3443345" cy="83099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sz="24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sym typeface="Calibri"/>
                </a:rPr>
                <a:t>Security Infrastructure Setup</a:t>
              </a:r>
              <a:endParaRPr kumimoji="0" lang="en-US" sz="24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endParaRPr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121953" y="5602683"/>
            <a:ext cx="4124897" cy="830995"/>
            <a:chOff x="121953" y="5602683"/>
            <a:chExt cx="4124897" cy="830995"/>
          </a:xfrm>
        </p:grpSpPr>
        <p:sp>
          <p:nvSpPr>
            <p:cNvPr id="6" name="Rectangle: Rounded Corners 1">
              <a:extLst>
                <a:ext uri="{FF2B5EF4-FFF2-40B4-BE49-F238E27FC236}">
                  <a16:creationId xmlns:a16="http://schemas.microsoft.com/office/drawing/2014/main" xmlns="" id="{697193E9-089F-1048-ACED-23DB2A1C272F}"/>
                </a:ext>
              </a:extLst>
            </p:cNvPr>
            <p:cNvSpPr/>
            <p:nvPr/>
          </p:nvSpPr>
          <p:spPr>
            <a:xfrm>
              <a:off x="121953" y="5638696"/>
              <a:ext cx="4124897" cy="758970"/>
            </a:xfrm>
            <a:prstGeom prst="roundRect">
              <a:avLst>
                <a:gd name="adj" fmla="val 10887"/>
              </a:avLst>
            </a:prstGeom>
            <a:solidFill>
              <a:schemeClr val="bg1"/>
            </a:solidFill>
            <a:ln w="12700" cap="flat">
              <a:noFill/>
              <a:prstDash val="solid"/>
              <a:miter lim="800000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  <a:softEdge rad="12700"/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hangingPunct="0"/>
              <a:endParaRPr lang="en-IN" sz="1600" dirty="0">
                <a:solidFill>
                  <a:srgbClr val="000000"/>
                </a:solidFill>
                <a:sym typeface="Calibri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463638" y="5602683"/>
              <a:ext cx="3443345" cy="83099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sz="24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sym typeface="Calibri"/>
                </a:rPr>
                <a:t>Other Infra Setup &amp; Miscellaneous</a:t>
              </a:r>
              <a:endParaRPr kumimoji="0" lang="en-US" sz="24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4629465" y="1098763"/>
            <a:ext cx="6101346" cy="1411317"/>
            <a:chOff x="4588536" y="1493983"/>
            <a:chExt cx="6101346" cy="1411317"/>
          </a:xfrm>
        </p:grpSpPr>
        <p:pic>
          <p:nvPicPr>
            <p:cNvPr id="14" name="Picture 2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5407" b="21705"/>
            <a:stretch/>
          </p:blipFill>
          <p:spPr bwMode="auto">
            <a:xfrm>
              <a:off x="7339399" y="1550402"/>
              <a:ext cx="1387570" cy="7338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" name="Picture 3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923" t="15350" r="11003" b="20803"/>
            <a:stretch/>
          </p:blipFill>
          <p:spPr bwMode="auto">
            <a:xfrm>
              <a:off x="9580819" y="2369101"/>
              <a:ext cx="1109063" cy="536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Picture 6" descr="C:\Users\pooja.ghosh\Desktop\Logo-BEI-Trans-Complete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12579" y="1493983"/>
              <a:ext cx="846708" cy="8467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8" descr="https://static.tildacdn.com/tild3762-6338-4539-b531-333234613466/Logo_Header_En_3.pn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66159" y="1564914"/>
              <a:ext cx="2867025" cy="7048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11" descr="C:\Users\pooja.ghosh\Desktop\download.pn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13590" y="2354089"/>
              <a:ext cx="1428750" cy="4667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14" descr="C:\Users\pooja.ghosh\Desktop\download.jpg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44897" y="1657537"/>
              <a:ext cx="923054" cy="5196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15" descr="C:\Users\pooja.ghosh\Desktop\bandweaver-logo-15-anniverary-300x93.png"/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9812"/>
            <a:stretch/>
          </p:blipFill>
          <p:spPr bwMode="auto">
            <a:xfrm>
              <a:off x="6599671" y="2395829"/>
              <a:ext cx="1109063" cy="4302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16" descr="C:\Users\pooja.ghosh\Desktop\schlumberger-logo-png-transparent.png"/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8269" b="33195"/>
            <a:stretch/>
          </p:blipFill>
          <p:spPr bwMode="auto">
            <a:xfrm>
              <a:off x="8066065" y="2250282"/>
              <a:ext cx="1157423" cy="5617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2" descr="Image result for sterlite logo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88536" y="1791934"/>
              <a:ext cx="987700" cy="3852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4" name="Group 33"/>
          <p:cNvGrpSpPr/>
          <p:nvPr/>
        </p:nvGrpSpPr>
        <p:grpSpPr>
          <a:xfrm>
            <a:off x="4538733" y="2708309"/>
            <a:ext cx="7569553" cy="1152901"/>
            <a:chOff x="4622447" y="2622041"/>
            <a:chExt cx="7569553" cy="1152901"/>
          </a:xfrm>
        </p:grpSpPr>
        <p:pic>
          <p:nvPicPr>
            <p:cNvPr id="25" name="Picture 20" descr="Image result for idea forge logo"/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270" t="20013" b="18493"/>
            <a:stretch/>
          </p:blipFill>
          <p:spPr bwMode="auto">
            <a:xfrm>
              <a:off x="9579778" y="2622041"/>
              <a:ext cx="1225591" cy="10269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18" descr="Related image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72090" y="3031992"/>
              <a:ext cx="1190625" cy="7429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26" descr="Image result for i2v logo"/>
            <p:cNvPicPr>
              <a:picLocks noChangeAspect="1" noChangeArrowheads="1"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1601" b="26508"/>
            <a:stretch/>
          </p:blipFill>
          <p:spPr bwMode="auto">
            <a:xfrm>
              <a:off x="7254873" y="3135533"/>
              <a:ext cx="1017959" cy="5282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31" descr="Home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22447" y="3275142"/>
              <a:ext cx="1561650" cy="4511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33" descr="Image result for flir logo"/>
            <p:cNvPicPr>
              <a:picLocks noChangeAspect="1" noChangeArrowheads="1"/>
            </p:cNvPicPr>
            <p:nvPr/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993" t="33317" r="22885" b="36276"/>
            <a:stretch/>
          </p:blipFill>
          <p:spPr bwMode="auto">
            <a:xfrm>
              <a:off x="4635968" y="2685726"/>
              <a:ext cx="1232775" cy="4328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Picture 35" descr="Image result for commend logo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995930" y="2669262"/>
              <a:ext cx="615193" cy="7842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Picture 37" descr="Related image"/>
            <p:cNvPicPr>
              <a:picLocks noChangeAspect="1" noChangeArrowheads="1"/>
            </p:cNvPicPr>
            <p:nvPr/>
          </p:nvPicPr>
          <p:blipFill rotWithShape="1"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1617" b="38408"/>
            <a:stretch/>
          </p:blipFill>
          <p:spPr bwMode="auto">
            <a:xfrm>
              <a:off x="10648178" y="3421814"/>
              <a:ext cx="1543822" cy="3083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Picture 2"/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45355" y="2822592"/>
              <a:ext cx="1028700" cy="847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" name="Picture 32"/>
            <p:cNvPicPr>
              <a:picLocks noChangeAspect="1" noChangeArrowheads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55962" y="2688448"/>
              <a:ext cx="1267500" cy="4861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" name="Picture 26" descr="Image result for genetec logo"/>
            <p:cNvPicPr>
              <a:picLocks noChangeAspect="1" noChangeArrowheads="1"/>
            </p:cNvPicPr>
            <p:nvPr/>
          </p:nvPicPr>
          <p:blipFill rotWithShape="1"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5304"/>
            <a:stretch/>
          </p:blipFill>
          <p:spPr bwMode="auto">
            <a:xfrm>
              <a:off x="6938382" y="2781874"/>
              <a:ext cx="1184257" cy="2499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3" name="Group 42"/>
          <p:cNvGrpSpPr/>
          <p:nvPr/>
        </p:nvGrpSpPr>
        <p:grpSpPr>
          <a:xfrm>
            <a:off x="4527057" y="3919363"/>
            <a:ext cx="6834962" cy="1549528"/>
            <a:chOff x="4565442" y="3867078"/>
            <a:chExt cx="6834962" cy="1549528"/>
          </a:xfrm>
        </p:grpSpPr>
        <p:pic>
          <p:nvPicPr>
            <p:cNvPr id="35" name="Picture 21" descr="C:\Users\pooja.ghosh\Desktop\Logo_2.png"/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67325" y="4527426"/>
              <a:ext cx="1185573" cy="8891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" name="Picture 39" descr="Godrej Logo"/>
            <p:cNvPicPr>
              <a:picLocks noChangeAspect="1" noChangeArrowheads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84572" y="4132590"/>
              <a:ext cx="2315832" cy="4130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7" name="Picture 41" descr="Related image"/>
            <p:cNvPicPr>
              <a:picLocks noChangeAspect="1" noChangeArrowheads="1"/>
            </p:cNvPicPr>
            <p:nvPr/>
          </p:nvPicPr>
          <p:blipFill rotWithShape="1"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7239" b="23044"/>
            <a:stretch/>
          </p:blipFill>
          <p:spPr bwMode="auto">
            <a:xfrm>
              <a:off x="9862160" y="4568544"/>
              <a:ext cx="1188208" cy="4688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Picture 43" descr="Image result for vehant logo"/>
            <p:cNvPicPr>
              <a:picLocks noChangeAspect="1" noChangeArrowheads="1"/>
            </p:cNvPicPr>
            <p:nvPr/>
          </p:nvPicPr>
          <p:blipFill rotWithShape="1"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0248" b="21928"/>
            <a:stretch/>
          </p:blipFill>
          <p:spPr bwMode="auto">
            <a:xfrm>
              <a:off x="4821442" y="4073106"/>
              <a:ext cx="996363" cy="4764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" name="Picture 45" descr="Image result for HPL"/>
            <p:cNvPicPr>
              <a:picLocks noChangeAspect="1" noChangeArrowheads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72609" y="3867078"/>
              <a:ext cx="1048480" cy="10484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Picture 47" descr="Avians-logo"/>
            <p:cNvPicPr>
              <a:picLocks noChangeAspect="1" noChangeArrowheads="1"/>
            </p:cNvPicPr>
            <p:nvPr/>
          </p:nvPicPr>
          <p:blipFill rotWithShape="1"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1473" r="70363"/>
            <a:stretch/>
          </p:blipFill>
          <p:spPr bwMode="auto">
            <a:xfrm>
              <a:off x="7511931" y="4067926"/>
              <a:ext cx="828411" cy="4278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" name="Picture 49" descr="https://swarajsecutech.com/images/logo.png"/>
            <p:cNvPicPr>
              <a:picLocks noChangeAspect="1" noChangeArrowheads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4916" y="4424617"/>
              <a:ext cx="2117208" cy="6709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51" descr="Image result for CIMCON Lighting, Inc."/>
            <p:cNvPicPr>
              <a:picLocks noChangeAspect="1" noChangeArrowheads="1"/>
            </p:cNvPicPr>
            <p:nvPr/>
          </p:nvPicPr>
          <p:blipFill rotWithShape="1"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6710" b="31198"/>
            <a:stretch/>
          </p:blipFill>
          <p:spPr bwMode="auto">
            <a:xfrm>
              <a:off x="4565442" y="4569094"/>
              <a:ext cx="1403893" cy="5909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2" name="Group 51"/>
          <p:cNvGrpSpPr/>
          <p:nvPr/>
        </p:nvGrpSpPr>
        <p:grpSpPr>
          <a:xfrm>
            <a:off x="4552254" y="5442873"/>
            <a:ext cx="7524329" cy="1088480"/>
            <a:chOff x="4553490" y="5291509"/>
            <a:chExt cx="7524329" cy="1088480"/>
          </a:xfrm>
        </p:grpSpPr>
        <p:pic>
          <p:nvPicPr>
            <p:cNvPr id="44" name="Picture 54" descr="C:\Users\pooja.ghosh\Desktop\logo.png"/>
            <p:cNvPicPr>
              <a:picLocks noChangeAspect="1" noChangeArrowheads="1"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80862" y="5911840"/>
              <a:ext cx="1154474" cy="4140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6" name="Picture 58" descr="Image result for panasonic logo"/>
            <p:cNvPicPr>
              <a:picLocks noChangeAspect="1" noChangeArrowheads="1"/>
            </p:cNvPicPr>
            <p:nvPr/>
          </p:nvPicPr>
          <p:blipFill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23488" y="5484509"/>
              <a:ext cx="1640784" cy="2602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7" name="Picture 60" descr="Image result for kelvin hughes logo"/>
            <p:cNvPicPr>
              <a:picLocks noChangeAspect="1" noChangeArrowheads="1"/>
            </p:cNvPicPr>
            <p:nvPr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05493" y="5758726"/>
              <a:ext cx="2049451" cy="6212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" name="Picture 62" descr="Image result for velodyne logo"/>
            <p:cNvPicPr>
              <a:picLocks noChangeAspect="1" noChangeArrowheads="1"/>
            </p:cNvPicPr>
            <p:nvPr/>
          </p:nvPicPr>
          <p:blipFill rotWithShape="1"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361" b="26955"/>
            <a:stretch/>
          </p:blipFill>
          <p:spPr bwMode="auto">
            <a:xfrm>
              <a:off x="10957075" y="5517389"/>
              <a:ext cx="1120744" cy="4671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9" name="Picture 64" descr="Image result for optex logo"/>
            <p:cNvPicPr>
              <a:picLocks noChangeAspect="1" noChangeArrowheads="1"/>
            </p:cNvPicPr>
            <p:nvPr/>
          </p:nvPicPr>
          <p:blipFill rotWithShape="1">
            <a:blip r:embed="rId3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2132" b="33934"/>
            <a:stretch/>
          </p:blipFill>
          <p:spPr bwMode="auto">
            <a:xfrm>
              <a:off x="8514848" y="5854892"/>
              <a:ext cx="1334742" cy="4529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0" name="Picture 66" descr="Image result for gallagher fence logo"/>
            <p:cNvPicPr>
              <a:picLocks noChangeAspect="1" noChangeArrowheads="1"/>
            </p:cNvPicPr>
            <p:nvPr/>
          </p:nvPicPr>
          <p:blipFill>
            <a:blip r:embed="rId3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53490" y="5474496"/>
              <a:ext cx="2152372" cy="5892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1" name="Picture 68" descr="Image result for Lockheed Martin logo"/>
            <p:cNvPicPr>
              <a:picLocks noChangeAspect="1" noChangeArrowheads="1"/>
            </p:cNvPicPr>
            <p:nvPr/>
          </p:nvPicPr>
          <p:blipFill>
            <a:blip r:embed="rId3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94508" y="5291509"/>
              <a:ext cx="2418830" cy="7456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5" name="Picture 56" descr="C:\Users\pooja.ghosh\Desktop\Nokia-Logo-Vector-free.png"/>
            <p:cNvPicPr>
              <a:picLocks noChangeAspect="1" noChangeArrowheads="1"/>
            </p:cNvPicPr>
            <p:nvPr/>
          </p:nvPicPr>
          <p:blipFill rotWithShape="1"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044" t="35775" r="14286" b="37008"/>
            <a:stretch/>
          </p:blipFill>
          <p:spPr bwMode="auto">
            <a:xfrm>
              <a:off x="9960430" y="5854892"/>
              <a:ext cx="1316363" cy="3808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214476786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2800" dirty="0"/>
              <a:t>We </a:t>
            </a:r>
            <a:r>
              <a:rPr lang="en-IN" sz="2800" dirty="0" smtClean="0"/>
              <a:t>are </a:t>
            </a:r>
            <a:r>
              <a:rPr lang="en-IN" sz="2800" dirty="0"/>
              <a:t>STL, </a:t>
            </a:r>
            <a:r>
              <a:rPr lang="en-IN" sz="2400" dirty="0">
                <a:solidFill>
                  <a:schemeClr val="bg2">
                    <a:lumMod val="50000"/>
                  </a:schemeClr>
                </a:solidFill>
              </a:rPr>
              <a:t>a unique silicon to software company, unparalleled in the world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9493459" y="1509698"/>
            <a:ext cx="2426398" cy="3905582"/>
            <a:chOff x="7369573" y="1215058"/>
            <a:chExt cx="2426398" cy="3905582"/>
          </a:xfrm>
        </p:grpSpPr>
        <p:sp>
          <p:nvSpPr>
            <p:cNvPr id="66" name="Rectangle: Rounded Corners 62">
              <a:extLst>
                <a:ext uri="{FF2B5EF4-FFF2-40B4-BE49-F238E27FC236}">
                  <a16:creationId xmlns:a16="http://schemas.microsoft.com/office/drawing/2014/main" xmlns="" id="{92B4F64D-26E8-473A-BA55-BB131FD3D120}"/>
                </a:ext>
              </a:extLst>
            </p:cNvPr>
            <p:cNvSpPr/>
            <p:nvPr/>
          </p:nvSpPr>
          <p:spPr>
            <a:xfrm>
              <a:off x="7369573" y="1215058"/>
              <a:ext cx="2241788" cy="3905582"/>
            </a:xfrm>
            <a:prstGeom prst="roundRect">
              <a:avLst/>
            </a:prstGeom>
            <a:solidFill>
              <a:srgbClr val="FFFFFF"/>
            </a:solidFill>
            <a:ln w="12700" cap="flat">
              <a:noFill/>
              <a:prstDash val="solid"/>
              <a:miter lim="800000"/>
            </a:ln>
            <a:effectLst>
              <a:outerShdw blurRad="482600" sx="102000" sy="102000" algn="ctr" rotWithShape="0">
                <a:prstClr val="black">
                  <a:alpha val="14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  <p:grpSp>
          <p:nvGrpSpPr>
            <p:cNvPr id="2" name="Group 1"/>
            <p:cNvGrpSpPr/>
            <p:nvPr/>
          </p:nvGrpSpPr>
          <p:grpSpPr>
            <a:xfrm>
              <a:off x="7545636" y="3982739"/>
              <a:ext cx="1898476" cy="785835"/>
              <a:chOff x="7545636" y="3982739"/>
              <a:chExt cx="1898476" cy="785835"/>
            </a:xfrm>
          </p:grpSpPr>
          <p:grpSp>
            <p:nvGrpSpPr>
              <p:cNvPr id="51" name="Group 50"/>
              <p:cNvGrpSpPr/>
              <p:nvPr/>
            </p:nvGrpSpPr>
            <p:grpSpPr>
              <a:xfrm>
                <a:off x="7545636" y="3982739"/>
                <a:ext cx="1898476" cy="785835"/>
                <a:chOff x="7358529" y="2257007"/>
                <a:chExt cx="3295640" cy="1364158"/>
              </a:xfrm>
            </p:grpSpPr>
            <p:sp>
              <p:nvSpPr>
                <p:cNvPr id="62" name="Rectangle: Rounded Corners 101"/>
                <p:cNvSpPr/>
                <p:nvPr/>
              </p:nvSpPr>
              <p:spPr>
                <a:xfrm>
                  <a:off x="7358529" y="2257007"/>
                  <a:ext cx="1364162" cy="1364158"/>
                </a:xfrm>
                <a:prstGeom prst="roundRect">
                  <a:avLst/>
                </a:prstGeom>
                <a:solidFill>
                  <a:srgbClr val="4B1FB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63" name="TextBox 62"/>
                <p:cNvSpPr txBox="1"/>
                <p:nvPr/>
              </p:nvSpPr>
              <p:spPr>
                <a:xfrm>
                  <a:off x="8803105" y="2670510"/>
                  <a:ext cx="1851064" cy="67319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>
                    <a:lnSpc>
                      <a:spcPct val="80000"/>
                    </a:lnSpc>
                  </a:pPr>
                  <a:r>
                    <a:rPr lang="en-US" sz="1200" b="1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NETWORK</a:t>
                  </a:r>
                </a:p>
                <a:p>
                  <a:pPr>
                    <a:lnSpc>
                      <a:spcPct val="80000"/>
                    </a:lnSpc>
                  </a:pPr>
                  <a:r>
                    <a:rPr lang="en-US" sz="1200" b="1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SOFTWARE</a:t>
                  </a:r>
                </a:p>
              </p:txBody>
            </p:sp>
          </p:grpSp>
          <p:sp>
            <p:nvSpPr>
              <p:cNvPr id="52" name="Oval 51"/>
              <p:cNvSpPr/>
              <p:nvPr/>
            </p:nvSpPr>
            <p:spPr>
              <a:xfrm>
                <a:off x="7955585" y="4338185"/>
                <a:ext cx="256846" cy="25684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55" name="Graphic 31" descr="Graphic 31">
                <a:extLst>
                  <a:ext uri="{FF2B5EF4-FFF2-40B4-BE49-F238E27FC236}">
                    <a16:creationId xmlns:a16="http://schemas.microsoft.com/office/drawing/2014/main" xmlns="" id="{583B0358-FB21-2847-A93D-79D1527579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>
              <a:xfrm>
                <a:off x="7628258" y="4117939"/>
                <a:ext cx="445565" cy="480789"/>
              </a:xfrm>
              <a:prstGeom prst="rect">
                <a:avLst/>
              </a:prstGeom>
              <a:ln w="12700">
                <a:miter lim="400000"/>
              </a:ln>
            </p:spPr>
          </p:pic>
        </p:grpSp>
        <p:grpSp>
          <p:nvGrpSpPr>
            <p:cNvPr id="5" name="Group 4"/>
            <p:cNvGrpSpPr/>
            <p:nvPr/>
          </p:nvGrpSpPr>
          <p:grpSpPr>
            <a:xfrm>
              <a:off x="7536030" y="1825167"/>
              <a:ext cx="2259941" cy="785835"/>
              <a:chOff x="7721216" y="1826994"/>
              <a:chExt cx="2259941" cy="785835"/>
            </a:xfrm>
          </p:grpSpPr>
          <p:grpSp>
            <p:nvGrpSpPr>
              <p:cNvPr id="54" name="Group 53"/>
              <p:cNvGrpSpPr/>
              <p:nvPr/>
            </p:nvGrpSpPr>
            <p:grpSpPr>
              <a:xfrm>
                <a:off x="7721216" y="1826994"/>
                <a:ext cx="2259941" cy="785835"/>
                <a:chOff x="820070" y="2355105"/>
                <a:chExt cx="3923110" cy="1364158"/>
              </a:xfrm>
            </p:grpSpPr>
            <p:sp>
              <p:nvSpPr>
                <p:cNvPr id="58" name="Rectangle: Rounded Corners 106"/>
                <p:cNvSpPr/>
                <p:nvPr/>
              </p:nvSpPr>
              <p:spPr>
                <a:xfrm>
                  <a:off x="820070" y="2355105"/>
                  <a:ext cx="1364158" cy="1364158"/>
                </a:xfrm>
                <a:prstGeom prst="roundRect">
                  <a:avLst/>
                </a:prstGeom>
                <a:solidFill>
                  <a:srgbClr val="4B1FB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59" name="TextBox 58"/>
                <p:cNvSpPr txBox="1"/>
                <p:nvPr/>
              </p:nvSpPr>
              <p:spPr>
                <a:xfrm>
                  <a:off x="2215645" y="2737066"/>
                  <a:ext cx="2527535" cy="67319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>
                    <a:lnSpc>
                      <a:spcPct val="80000"/>
                    </a:lnSpc>
                  </a:pPr>
                  <a:r>
                    <a:rPr lang="en-US" sz="1200" b="1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CONNECTIVITY </a:t>
                  </a:r>
                </a:p>
                <a:p>
                  <a:pPr>
                    <a:lnSpc>
                      <a:spcPct val="80000"/>
                    </a:lnSpc>
                  </a:pPr>
                  <a:r>
                    <a:rPr lang="en-US" sz="1200" b="1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SOLUTIONS</a:t>
                  </a:r>
                </a:p>
              </p:txBody>
            </p:sp>
          </p:grpSp>
          <p:pic>
            <p:nvPicPr>
              <p:cNvPr id="56" name="optical.png" descr="optical.png">
                <a:extLst>
                  <a:ext uri="{FF2B5EF4-FFF2-40B4-BE49-F238E27FC236}">
                    <a16:creationId xmlns:a16="http://schemas.microsoft.com/office/drawing/2014/main" xmlns="" id="{1D28557A-A425-3842-9C81-D48F08B8A4A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823027" y="1954098"/>
                <a:ext cx="559921" cy="658731"/>
              </a:xfrm>
              <a:prstGeom prst="rect">
                <a:avLst/>
              </a:prstGeom>
              <a:ln w="12700">
                <a:miter lim="400000"/>
              </a:ln>
            </p:spPr>
          </p:pic>
        </p:grpSp>
        <p:grpSp>
          <p:nvGrpSpPr>
            <p:cNvPr id="3" name="Group 2"/>
            <p:cNvGrpSpPr/>
            <p:nvPr/>
          </p:nvGrpSpPr>
          <p:grpSpPr>
            <a:xfrm>
              <a:off x="7545636" y="2919504"/>
              <a:ext cx="1837357" cy="785834"/>
              <a:chOff x="7545636" y="2919504"/>
              <a:chExt cx="1837357" cy="785834"/>
            </a:xfrm>
          </p:grpSpPr>
          <p:grpSp>
            <p:nvGrpSpPr>
              <p:cNvPr id="53" name="Group 52"/>
              <p:cNvGrpSpPr/>
              <p:nvPr/>
            </p:nvGrpSpPr>
            <p:grpSpPr>
              <a:xfrm>
                <a:off x="7545636" y="2919504"/>
                <a:ext cx="1837357" cy="785834"/>
                <a:chOff x="4076150" y="2314313"/>
                <a:chExt cx="3189540" cy="1364158"/>
              </a:xfrm>
            </p:grpSpPr>
            <p:sp>
              <p:nvSpPr>
                <p:cNvPr id="60" name="Rectangle: Rounded Corners 96"/>
                <p:cNvSpPr/>
                <p:nvPr/>
              </p:nvSpPr>
              <p:spPr>
                <a:xfrm>
                  <a:off x="4076150" y="2314313"/>
                  <a:ext cx="1364165" cy="1364158"/>
                </a:xfrm>
                <a:prstGeom prst="roundRect">
                  <a:avLst/>
                </a:prstGeom>
                <a:solidFill>
                  <a:srgbClr val="4B1FB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61" name="TextBox 60"/>
                <p:cNvSpPr txBox="1"/>
                <p:nvPr/>
              </p:nvSpPr>
              <p:spPr>
                <a:xfrm>
                  <a:off x="5564895" y="2612674"/>
                  <a:ext cx="1700795" cy="80142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200" b="1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NETWORK</a:t>
                  </a:r>
                  <a:br>
                    <a:rPr lang="en-US" sz="1200" b="1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</a:br>
                  <a:r>
                    <a:rPr lang="en-US" sz="1200" b="1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SERVICES</a:t>
                  </a:r>
                </a:p>
              </p:txBody>
            </p:sp>
          </p:grpSp>
          <p:pic>
            <p:nvPicPr>
              <p:cNvPr id="57" name="system.png" descr="system.png">
                <a:extLst>
                  <a:ext uri="{FF2B5EF4-FFF2-40B4-BE49-F238E27FC236}">
                    <a16:creationId xmlns:a16="http://schemas.microsoft.com/office/drawing/2014/main" xmlns="" id="{E343B142-DF64-7B4B-AA3E-328904419AB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597149" y="3066325"/>
                <a:ext cx="586020" cy="507359"/>
              </a:xfrm>
              <a:prstGeom prst="rect">
                <a:avLst/>
              </a:prstGeom>
              <a:ln w="12700">
                <a:miter lim="400000"/>
              </a:ln>
            </p:spPr>
          </p:pic>
        </p:grpSp>
      </p:grpSp>
      <p:sp>
        <p:nvSpPr>
          <p:cNvPr id="64" name="Slide Number Placeholder 3">
            <a:extLst>
              <a:ext uri="{FF2B5EF4-FFF2-40B4-BE49-F238E27FC236}">
                <a16:creationId xmlns:a16="http://schemas.microsoft.com/office/drawing/2014/main" xmlns="" id="{2C26D739-9756-46DA-BC52-608A084FB1A5}"/>
              </a:ext>
            </a:extLst>
          </p:cNvPr>
          <p:cNvSpPr txBox="1">
            <a:spLocks/>
          </p:cNvSpPr>
          <p:nvPr/>
        </p:nvSpPr>
        <p:spPr>
          <a:xfrm>
            <a:off x="11919857" y="6567858"/>
            <a:ext cx="245751" cy="22570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6CB4B4D-7CA3-9044-876B-883B54F8677D}" type="slidenum">
              <a:rPr lang="en-IN" sz="1000" smtClean="0">
                <a:latin typeface="Gotham Extra Light" pitchFamily="2" charset="0"/>
                <a:cs typeface="Gotham Extra Light" pitchFamily="2" charset="0"/>
              </a:rPr>
              <a:pPr/>
              <a:t>3</a:t>
            </a:fld>
            <a:endParaRPr lang="en-IN" sz="1000" dirty="0">
              <a:latin typeface="Gotham Extra Light" pitchFamily="2" charset="0"/>
              <a:cs typeface="Gotham Extra Light" pitchFamily="2" charset="0"/>
            </a:endParaRPr>
          </a:p>
        </p:txBody>
      </p:sp>
      <p:pic>
        <p:nvPicPr>
          <p:cNvPr id="65" name="Picture 64"/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572"/>
          <a:stretch/>
        </p:blipFill>
        <p:spPr>
          <a:xfrm>
            <a:off x="470875" y="906962"/>
            <a:ext cx="9726834" cy="5805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64113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0253" b="22283"/>
          <a:stretch/>
        </p:blipFill>
        <p:spPr>
          <a:xfrm>
            <a:off x="-1799" y="-2410"/>
            <a:ext cx="12187308" cy="686041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>
                <a:solidFill>
                  <a:schemeClr val="bg1"/>
                </a:solidFill>
              </a:rPr>
              <a:t>We have the experience </a:t>
            </a:r>
            <a:r>
              <a:rPr lang="en-US" sz="2800" dirty="0" smtClean="0">
                <a:solidFill>
                  <a:schemeClr val="bg1"/>
                </a:solidFill>
              </a:rPr>
              <a:t>and </a:t>
            </a:r>
            <a:br>
              <a:rPr lang="en-US" sz="2800" dirty="0" smtClean="0">
                <a:solidFill>
                  <a:schemeClr val="bg1"/>
                </a:solidFill>
              </a:rPr>
            </a:br>
            <a:r>
              <a:rPr lang="en-US" sz="2800" dirty="0" smtClean="0">
                <a:solidFill>
                  <a:schemeClr val="bg1"/>
                </a:solidFill>
              </a:rPr>
              <a:t>the </a:t>
            </a:r>
            <a:r>
              <a:rPr lang="en-US" sz="2800" dirty="0">
                <a:solidFill>
                  <a:schemeClr val="bg1"/>
                </a:solidFill>
              </a:rPr>
              <a:t>expertise</a:t>
            </a:r>
            <a:endParaRPr lang="en-IN" sz="2800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IN" smtClean="0"/>
              <a:t>4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19-2020 </a:t>
            </a:r>
            <a:r>
              <a:rPr lang="en-IN"/>
              <a:t>Sterlite Technologies Limited</a:t>
            </a:r>
            <a:endParaRPr lang="en-US" dirty="0"/>
          </a:p>
        </p:txBody>
      </p:sp>
      <p:cxnSp>
        <p:nvCxnSpPr>
          <p:cNvPr id="5" name="Straight Connector 4"/>
          <p:cNvCxnSpPr>
            <a:cxnSpLocks/>
          </p:cNvCxnSpPr>
          <p:nvPr/>
        </p:nvCxnSpPr>
        <p:spPr>
          <a:xfrm flipV="1">
            <a:off x="1417828" y="2004289"/>
            <a:ext cx="2088329" cy="1014526"/>
          </a:xfrm>
          <a:prstGeom prst="line">
            <a:avLst/>
          </a:prstGeom>
          <a:ln w="19050">
            <a:solidFill>
              <a:schemeClr val="bg2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/>
          <p:cNvCxnSpPr>
            <a:cxnSpLocks/>
          </p:cNvCxnSpPr>
          <p:nvPr/>
        </p:nvCxnSpPr>
        <p:spPr>
          <a:xfrm>
            <a:off x="1417828" y="4656762"/>
            <a:ext cx="2088329" cy="1228211"/>
          </a:xfrm>
          <a:prstGeom prst="line">
            <a:avLst/>
          </a:prstGeom>
          <a:ln w="19050">
            <a:solidFill>
              <a:schemeClr val="bg2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463DADCE-D593-2B4C-ACB9-3FC9C22734E1}"/>
              </a:ext>
            </a:extLst>
          </p:cNvPr>
          <p:cNvGrpSpPr/>
          <p:nvPr/>
        </p:nvGrpSpPr>
        <p:grpSpPr>
          <a:xfrm>
            <a:off x="496206" y="3639738"/>
            <a:ext cx="2444261" cy="341368"/>
            <a:chOff x="3849992" y="3047091"/>
            <a:chExt cx="5620502" cy="784968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xmlns="" id="{CDC84A69-80E3-194A-AEB4-140592EB208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49992" y="3085785"/>
              <a:ext cx="1841640" cy="717470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xmlns="" id="{484A5E78-5DD6-3141-ACA9-462B3D026C09}"/>
                </a:ext>
              </a:extLst>
            </p:cNvPr>
            <p:cNvSpPr txBox="1"/>
            <p:nvPr userDrawn="1"/>
          </p:nvSpPr>
          <p:spPr>
            <a:xfrm>
              <a:off x="5969233" y="3112243"/>
              <a:ext cx="3501261" cy="70772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IN" sz="1400" b="0" i="0" u="none" strike="noStrike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Calibri"/>
                </a:rPr>
                <a:t>beyond tomorrow</a:t>
              </a:r>
              <a:endParaRPr kumimoji="0" lang="en-US" sz="1400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/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xmlns="" id="{0CCB8ED5-85E8-6D42-BE05-EF3E861F038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888037" y="3047091"/>
              <a:ext cx="0" cy="784968"/>
            </a:xfrm>
            <a:prstGeom prst="line">
              <a:avLst/>
            </a:prstGeom>
            <a:noFill/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grpSp>
        <p:nvGrpSpPr>
          <p:cNvPr id="8" name="Group 7"/>
          <p:cNvGrpSpPr/>
          <p:nvPr/>
        </p:nvGrpSpPr>
        <p:grpSpPr>
          <a:xfrm>
            <a:off x="4656084" y="1303191"/>
            <a:ext cx="5287101" cy="5265504"/>
            <a:chOff x="8258266" y="1066023"/>
            <a:chExt cx="5287101" cy="5265504"/>
          </a:xfrm>
        </p:grpSpPr>
        <p:sp>
          <p:nvSpPr>
            <p:cNvPr id="32" name="Rectangle: Rounded Corners 62">
              <a:extLst>
                <a:ext uri="{FF2B5EF4-FFF2-40B4-BE49-F238E27FC236}">
                  <a16:creationId xmlns:a16="http://schemas.microsoft.com/office/drawing/2014/main" xmlns="" id="{92B4F64D-26E8-473A-BA55-BB131FD3D120}"/>
                </a:ext>
              </a:extLst>
            </p:cNvPr>
            <p:cNvSpPr/>
            <p:nvPr/>
          </p:nvSpPr>
          <p:spPr>
            <a:xfrm>
              <a:off x="8258266" y="1066023"/>
              <a:ext cx="4169261" cy="5265504"/>
            </a:xfrm>
            <a:prstGeom prst="roundRect">
              <a:avLst/>
            </a:prstGeom>
            <a:solidFill>
              <a:srgbClr val="FFFFFF"/>
            </a:solidFill>
            <a:ln w="12700" cap="flat">
              <a:noFill/>
              <a:prstDash val="solid"/>
              <a:miter lim="800000"/>
            </a:ln>
            <a:effectLst>
              <a:outerShdw blurRad="482600" sx="102000" sy="102000" algn="ctr" rotWithShape="0">
                <a:prstClr val="black">
                  <a:alpha val="14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8633976" y="1211850"/>
              <a:ext cx="2576346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hangingPunct="0"/>
              <a:r>
                <a:rPr lang="en-IN" sz="2000" b="1" i="1" dirty="0">
                  <a:solidFill>
                    <a:srgbClr val="1B47C5"/>
                  </a:solidFill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All-Stack</a:t>
              </a:r>
              <a:r>
                <a:rPr lang="en-IN" sz="2000" b="1" dirty="0">
                  <a:solidFill>
                    <a:srgbClr val="1B47C5"/>
                  </a:solidFill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 Capability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8633976" y="1567548"/>
              <a:ext cx="4535681" cy="90139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hangingPunct="0"/>
              <a:r>
                <a:rPr lang="en-IN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Only company in the world</a:t>
              </a:r>
            </a:p>
            <a:p>
              <a:pPr hangingPunct="0"/>
              <a:r>
                <a:rPr lang="en-IN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Integrated across the network stack</a:t>
              </a: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8633976" y="2438013"/>
              <a:ext cx="2576346" cy="369333"/>
            </a:xfrm>
            <a:prstGeom prst="rect">
              <a:avLst/>
            </a:prstGeom>
            <a:noFill/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noAutofit/>
            </a:bodyPr>
            <a:lstStyle/>
            <a:p>
              <a:pPr marL="0" marR="0" indent="0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IN" sz="2000" b="1" i="0" u="none" strike="noStrike" cap="none" spc="0" normalizeH="0" baseline="0" dirty="0">
                  <a:ln>
                    <a:noFill/>
                  </a:ln>
                  <a:solidFill>
                    <a:srgbClr val="1B47C5"/>
                  </a:solidFill>
                  <a:effectLst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Global</a:t>
              </a:r>
              <a:r>
                <a:rPr kumimoji="0" lang="en-IN" sz="2000" b="1" i="0" u="none" strike="noStrike" cap="none" spc="0" normalizeH="0" dirty="0">
                  <a:ln>
                    <a:noFill/>
                  </a:ln>
                  <a:solidFill>
                    <a:srgbClr val="1B47C5"/>
                  </a:solidFill>
                  <a:effectLst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 Experience</a:t>
              </a: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8633976" y="2825345"/>
              <a:ext cx="4514442" cy="843261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hangingPunct="0"/>
              <a:r>
                <a:rPr lang="en-IN" sz="1600" b="1" dirty="0"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43% </a:t>
              </a:r>
              <a:r>
                <a:rPr lang="en-IN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revenue from exports</a:t>
              </a:r>
            </a:p>
            <a:p>
              <a:pPr hangingPunct="0"/>
              <a:r>
                <a:rPr lang="en-IN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Partnering with </a:t>
              </a:r>
              <a:r>
                <a:rPr lang="en-IN" sz="1600" b="1" dirty="0"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7 of Top 10 </a:t>
              </a:r>
              <a:r>
                <a:rPr lang="en-IN" sz="1600" b="1" dirty="0" err="1"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Telcos</a:t>
              </a:r>
              <a:r>
                <a:rPr lang="en-IN" sz="1600" dirty="0"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 </a:t>
              </a:r>
              <a:r>
                <a:rPr lang="en-IN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globally</a:t>
              </a:r>
            </a:p>
            <a:p>
              <a:pPr hangingPunct="0"/>
              <a:r>
                <a:rPr lang="en-IN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Collaborating with </a:t>
              </a:r>
              <a:r>
                <a:rPr lang="en-IN" sz="1600" b="1" dirty="0"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Top 2 Cloud </a:t>
              </a:r>
              <a:r>
                <a:rPr lang="en-IN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companies</a:t>
              </a:r>
              <a:r>
                <a:rPr lang="en-IN" sz="1400" dirty="0"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 </a:t>
              </a: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8633976" y="3785906"/>
              <a:ext cx="4535681" cy="369333"/>
            </a:xfrm>
            <a:prstGeom prst="rect">
              <a:avLst/>
            </a:prstGeom>
            <a:noFill/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noAutofit/>
            </a:bodyPr>
            <a:lstStyle/>
            <a:p>
              <a:pPr marL="0" marR="0" indent="0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IN" sz="2000" b="1" i="0" u="none" strike="noStrike" cap="none" spc="0" normalizeH="0" baseline="0" dirty="0">
                  <a:ln>
                    <a:noFill/>
                  </a:ln>
                  <a:solidFill>
                    <a:srgbClr val="1B47C5"/>
                  </a:solidFill>
                  <a:effectLst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Technology Focused</a:t>
              </a:r>
              <a:endParaRPr kumimoji="0" lang="en-IN" sz="2000" b="1" i="0" u="none" strike="noStrike" cap="none" spc="0" normalizeH="0" dirty="0">
                <a:ln>
                  <a:noFill/>
                </a:ln>
                <a:solidFill>
                  <a:srgbClr val="1B47C5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8633976" y="4155239"/>
              <a:ext cx="4911391" cy="86177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hangingPunct="0"/>
              <a:r>
                <a:rPr lang="en-IN" sz="1600" b="1" dirty="0"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271 </a:t>
              </a:r>
              <a:r>
                <a:rPr lang="en-IN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Patents</a:t>
              </a:r>
            </a:p>
            <a:p>
              <a:pPr hangingPunct="0"/>
              <a:r>
                <a:rPr lang="en-IN" sz="1600" b="1" dirty="0"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3 </a:t>
              </a:r>
              <a:r>
                <a:rPr lang="en-IN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Innovation Centres</a:t>
              </a:r>
            </a:p>
            <a:p>
              <a:pPr hangingPunct="0"/>
              <a:r>
                <a:rPr lang="en-IN" sz="1600" b="1" dirty="0"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IITs, Rutgers </a:t>
              </a:r>
              <a:r>
                <a:rPr lang="en-IN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Academia Connect</a:t>
              </a: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8633976" y="5236019"/>
              <a:ext cx="4514442" cy="455484"/>
            </a:xfrm>
            <a:prstGeom prst="rect">
              <a:avLst/>
            </a:prstGeom>
            <a:noFill/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noAutofit/>
            </a:bodyPr>
            <a:lstStyle/>
            <a:p>
              <a:pPr hangingPunct="0"/>
              <a:r>
                <a:rPr lang="en-IN" sz="2000" b="1" dirty="0">
                  <a:solidFill>
                    <a:srgbClr val="1B47C5"/>
                  </a:solidFill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End to End Solutions</a:t>
              </a: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8633976" y="5597338"/>
              <a:ext cx="4890152" cy="526342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hangingPunct="0"/>
              <a:r>
                <a:rPr lang="en-IN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Mobility | Access | Long Haul Connectivity</a:t>
              </a:r>
            </a:p>
            <a:p>
              <a:pPr hangingPunct="0">
                <a:spcBef>
                  <a:spcPts val="600"/>
                </a:spcBef>
              </a:pPr>
              <a:r>
                <a:rPr lang="en-IN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Network Modernization | Data Cent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3020921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© 2019-2020 </a:t>
            </a:r>
            <a:r>
              <a:rPr lang="en-IN" smtClean="0"/>
              <a:t>Sterlite Technologies Limited</a:t>
            </a:r>
            <a:endParaRPr lang="en-US" dirty="0"/>
          </a:p>
        </p:txBody>
      </p:sp>
      <p:pic>
        <p:nvPicPr>
          <p:cNvPr id="27" name="Picture Placeholder 26"/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653" r="32653"/>
          <a:stretch>
            <a:fillRect/>
          </a:stretch>
        </p:blipFill>
        <p:spPr/>
      </p:pic>
      <p:sp>
        <p:nvSpPr>
          <p:cNvPr id="17" name="Slide Number Placeholder 3"/>
          <p:cNvSpPr>
            <a:spLocks noGrp="1"/>
          </p:cNvSpPr>
          <p:nvPr>
            <p:ph type="sldNum" sz="quarter" idx="2"/>
          </p:nvPr>
        </p:nvSpPr>
        <p:spPr>
          <a:xfrm>
            <a:off x="11924168" y="6896541"/>
            <a:ext cx="245751" cy="225709"/>
          </a:xfrm>
        </p:spPr>
        <p:txBody>
          <a:bodyPr/>
          <a:lstStyle/>
          <a:p>
            <a:fld id="{86CB4B4D-7CA3-9044-876B-883B54F8677D}" type="slidenum">
              <a:rPr lang="en-IN" smtClean="0"/>
              <a:t>5</a:t>
            </a:fld>
            <a:endParaRPr lang="en-IN"/>
          </a:p>
        </p:txBody>
      </p:sp>
      <p:sp>
        <p:nvSpPr>
          <p:cNvPr id="18" name="Title 5"/>
          <p:cNvSpPr txBox="1">
            <a:spLocks/>
          </p:cNvSpPr>
          <p:nvPr/>
        </p:nvSpPr>
        <p:spPr>
          <a:xfrm>
            <a:off x="4056133" y="950017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R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kern="0" cap="none" spc="0" baseline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2pPr>
            <a:lvl3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3pPr>
            <a:lvl4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4pPr>
            <a:lvl5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5pPr>
            <a:lvl6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6pPr>
            <a:lvl7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7pPr>
            <a:lvl8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8pPr>
            <a:lvl9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9pPr>
          </a:lstStyle>
          <a:p>
            <a:r>
              <a:rPr lang="en-IN" dirty="0"/>
              <a:t>About Us</a:t>
            </a:r>
          </a:p>
        </p:txBody>
      </p:sp>
      <p:sp>
        <p:nvSpPr>
          <p:cNvPr id="19" name="Title 5"/>
          <p:cNvSpPr txBox="1">
            <a:spLocks/>
          </p:cNvSpPr>
          <p:nvPr/>
        </p:nvSpPr>
        <p:spPr>
          <a:xfrm>
            <a:off x="4833430" y="4269410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STL has the KEY</a:t>
            </a:r>
            <a:endParaRPr lang="en-IN" kern="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0" name="Title 5"/>
          <p:cNvSpPr txBox="1">
            <a:spLocks/>
          </p:cNvSpPr>
          <p:nvPr/>
        </p:nvSpPr>
        <p:spPr>
          <a:xfrm>
            <a:off x="5262920" y="3788917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endParaRPr lang="en-IN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1" name="Title 5"/>
          <p:cNvSpPr txBox="1">
            <a:spLocks/>
          </p:cNvSpPr>
          <p:nvPr/>
        </p:nvSpPr>
        <p:spPr>
          <a:xfrm>
            <a:off x="5262920" y="3923116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endParaRPr lang="en-IN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2" name="Title 5"/>
          <p:cNvSpPr txBox="1">
            <a:spLocks/>
          </p:cNvSpPr>
          <p:nvPr/>
        </p:nvSpPr>
        <p:spPr>
          <a:xfrm>
            <a:off x="4638023" y="4760365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endParaRPr lang="en-IN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3" name="Title 5"/>
          <p:cNvSpPr txBox="1">
            <a:spLocks/>
          </p:cNvSpPr>
          <p:nvPr/>
        </p:nvSpPr>
        <p:spPr>
          <a:xfrm>
            <a:off x="5415320" y="2507062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r>
              <a:rPr lang="en-IN" kern="0" dirty="0" smtClean="0">
                <a:solidFill>
                  <a:schemeClr val="bg1">
                    <a:lumMod val="85000"/>
                  </a:schemeClr>
                </a:solidFill>
              </a:rPr>
              <a:t>Network Concerns &amp; Solution</a:t>
            </a:r>
            <a:endParaRPr lang="en-IN" kern="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4" name="Title 5"/>
          <p:cNvSpPr txBox="1">
            <a:spLocks/>
          </p:cNvSpPr>
          <p:nvPr/>
        </p:nvSpPr>
        <p:spPr>
          <a:xfrm>
            <a:off x="5415320" y="3415581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r>
              <a:rPr lang="en-IN" kern="0" dirty="0" smtClean="0">
                <a:solidFill>
                  <a:schemeClr val="bg1">
                    <a:lumMod val="85000"/>
                  </a:schemeClr>
                </a:solidFill>
              </a:rPr>
              <a:t>Border Concerns &amp; Solution</a:t>
            </a:r>
            <a:endParaRPr lang="en-IN" kern="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5" name="Title 5"/>
          <p:cNvSpPr txBox="1">
            <a:spLocks/>
          </p:cNvSpPr>
          <p:nvPr/>
        </p:nvSpPr>
        <p:spPr>
          <a:xfrm>
            <a:off x="4056133" y="5013784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r>
              <a:rPr lang="en-IN" kern="0" dirty="0" smtClean="0">
                <a:solidFill>
                  <a:schemeClr val="bg1">
                    <a:lumMod val="85000"/>
                  </a:schemeClr>
                </a:solidFill>
              </a:rPr>
              <a:t>Partner Ecosystem</a:t>
            </a:r>
            <a:endParaRPr lang="en-IN" kern="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6" name="Title 5"/>
          <p:cNvSpPr txBox="1">
            <a:spLocks/>
          </p:cNvSpPr>
          <p:nvPr/>
        </p:nvSpPr>
        <p:spPr>
          <a:xfrm>
            <a:off x="4833430" y="1721612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R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kern="0" cap="none" spc="0" baseline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2pPr>
            <a:lvl3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3pPr>
            <a:lvl4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4pPr>
            <a:lvl5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5pPr>
            <a:lvl6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6pPr>
            <a:lvl7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7pPr>
            <a:lvl8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8pPr>
            <a:lvl9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9pPr>
          </a:lstStyle>
          <a:p>
            <a:r>
              <a:rPr lang="en-US" dirty="0"/>
              <a:t>Customer Bas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1145070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1298" name="Picture 2" descr="Related image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89"/>
          <a:stretch/>
        </p:blipFill>
        <p:spPr bwMode="auto">
          <a:xfrm>
            <a:off x="3311236" y="1022913"/>
            <a:ext cx="8880764" cy="5835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stomer Bas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© 2019-2020 </a:t>
            </a:r>
            <a:r>
              <a:rPr lang="en-IN" smtClean="0"/>
              <a:t>Sterlite Technologies Limite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945938" y="6605588"/>
            <a:ext cx="246062" cy="225425"/>
          </a:xfrm>
        </p:spPr>
        <p:txBody>
          <a:bodyPr/>
          <a:lstStyle/>
          <a:p>
            <a:fld id="{86CB4B4D-7CA3-9044-876B-883B54F8677D}" type="slidenum">
              <a:rPr lang="en-US" smtClean="0"/>
              <a:t>6</a:t>
            </a:fld>
            <a:endParaRPr lang="en-US" dirty="0"/>
          </a:p>
        </p:txBody>
      </p:sp>
      <p:sp>
        <p:nvSpPr>
          <p:cNvPr id="10" name="Title 6"/>
          <p:cNvSpPr txBox="1">
            <a:spLocks/>
          </p:cNvSpPr>
          <p:nvPr/>
        </p:nvSpPr>
        <p:spPr>
          <a:xfrm rot="5400000">
            <a:off x="3428130" y="3520564"/>
            <a:ext cx="4405742" cy="800554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r>
              <a:rPr lang="en-US" sz="5400" kern="0" dirty="0" smtClean="0">
                <a:solidFill>
                  <a:schemeClr val="bg1"/>
                </a:solidFill>
              </a:rPr>
              <a:t>SEGMENTS</a:t>
            </a:r>
            <a:endParaRPr lang="en-US" sz="5400" kern="0" dirty="0">
              <a:solidFill>
                <a:schemeClr val="bg1"/>
              </a:solidFill>
            </a:endParaRPr>
          </a:p>
        </p:txBody>
      </p:sp>
      <p:sp>
        <p:nvSpPr>
          <p:cNvPr id="12" name="Rectangle: Rounded Corners 1">
            <a:extLst>
              <a:ext uri="{FF2B5EF4-FFF2-40B4-BE49-F238E27FC236}">
                <a16:creationId xmlns:a16="http://schemas.microsoft.com/office/drawing/2014/main" xmlns="" id="{697193E9-089F-1048-ACED-23DB2A1C272F}"/>
              </a:ext>
            </a:extLst>
          </p:cNvPr>
          <p:cNvSpPr/>
          <p:nvPr/>
        </p:nvSpPr>
        <p:spPr>
          <a:xfrm>
            <a:off x="385192" y="2868355"/>
            <a:ext cx="4124897" cy="758970"/>
          </a:xfrm>
          <a:prstGeom prst="roundRect">
            <a:avLst>
              <a:gd name="adj" fmla="val 10887"/>
            </a:avLst>
          </a:prstGeom>
          <a:solidFill>
            <a:schemeClr val="bg1"/>
          </a:solidFill>
          <a:ln w="12700" cap="flat">
            <a:noFill/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softEdge rad="12700"/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hangingPunct="0"/>
            <a:endParaRPr lang="en-IN" sz="1600">
              <a:solidFill>
                <a:srgbClr val="000000"/>
              </a:solidFill>
              <a:sym typeface="Calibri"/>
            </a:endParaRPr>
          </a:p>
        </p:txBody>
      </p:sp>
      <p:sp>
        <p:nvSpPr>
          <p:cNvPr id="13" name="Rectangle: Rounded Corners 1">
            <a:extLst>
              <a:ext uri="{FF2B5EF4-FFF2-40B4-BE49-F238E27FC236}">
                <a16:creationId xmlns:a16="http://schemas.microsoft.com/office/drawing/2014/main" xmlns="" id="{697193E9-089F-1048-ACED-23DB2A1C272F}"/>
              </a:ext>
            </a:extLst>
          </p:cNvPr>
          <p:cNvSpPr/>
          <p:nvPr/>
        </p:nvSpPr>
        <p:spPr>
          <a:xfrm>
            <a:off x="385191" y="4157290"/>
            <a:ext cx="4124897" cy="758970"/>
          </a:xfrm>
          <a:prstGeom prst="roundRect">
            <a:avLst>
              <a:gd name="adj" fmla="val 10887"/>
            </a:avLst>
          </a:prstGeom>
          <a:solidFill>
            <a:schemeClr val="bg1"/>
          </a:solidFill>
          <a:ln w="12700" cap="flat">
            <a:noFill/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softEdge rad="12700"/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hangingPunct="0"/>
            <a:endParaRPr lang="en-IN" sz="1600">
              <a:solidFill>
                <a:srgbClr val="000000"/>
              </a:solidFill>
              <a:sym typeface="Calibri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85190" y="4305943"/>
            <a:ext cx="4124897" cy="4616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400" b="0" i="0" u="none" strike="noStrike" cap="none" spc="0" normalizeH="0" baseline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Ports</a:t>
            </a:r>
            <a:r>
              <a:rPr lang="en-US" sz="2400" dirty="0">
                <a:solidFill>
                  <a:schemeClr val="tx1">
                    <a:lumMod val="50000"/>
                    <a:lumOff val="50000"/>
                  </a:schemeClr>
                </a:solidFill>
                <a:sym typeface="Calibri"/>
              </a:rPr>
              <a:t> </a:t>
            </a:r>
            <a:r>
              <a:rPr lang="en-US" sz="2400" dirty="0" smtClean="0">
                <a:solidFill>
                  <a:schemeClr val="tx1">
                    <a:lumMod val="50000"/>
                    <a:lumOff val="50000"/>
                  </a:schemeClr>
                </a:solidFill>
                <a:sym typeface="Calibri"/>
              </a:rPr>
              <a:t>- Seaports</a:t>
            </a:r>
            <a:endParaRPr kumimoji="0" lang="en-US" sz="2400" b="0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85188" y="3017008"/>
            <a:ext cx="4124897" cy="4616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2400" dirty="0" smtClean="0">
                <a:solidFill>
                  <a:schemeClr val="tx1">
                    <a:lumMod val="50000"/>
                    <a:lumOff val="50000"/>
                  </a:schemeClr>
                </a:solidFill>
                <a:sym typeface="Calibri"/>
              </a:rPr>
              <a:t>Territorial Border Security</a:t>
            </a:r>
            <a:endParaRPr kumimoji="0" lang="en-US" sz="2400" b="0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3373418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0274" name="Picture 2" descr="Related image"/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1470" y="1025236"/>
            <a:ext cx="8900529" cy="5840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stomer Bas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© 2019-2020 </a:t>
            </a:r>
            <a:r>
              <a:rPr lang="en-IN" smtClean="0"/>
              <a:t>Sterlite Technologies Limite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945938" y="6605588"/>
            <a:ext cx="246062" cy="225425"/>
          </a:xfrm>
        </p:spPr>
        <p:txBody>
          <a:bodyPr/>
          <a:lstStyle/>
          <a:p>
            <a:fld id="{86CB4B4D-7CA3-9044-876B-883B54F8677D}" type="slidenum">
              <a:rPr lang="en-US" smtClean="0"/>
              <a:t>7</a:t>
            </a:fld>
            <a:endParaRPr lang="en-US" dirty="0"/>
          </a:p>
        </p:txBody>
      </p:sp>
      <p:sp>
        <p:nvSpPr>
          <p:cNvPr id="10" name="Title 6"/>
          <p:cNvSpPr txBox="1">
            <a:spLocks/>
          </p:cNvSpPr>
          <p:nvPr/>
        </p:nvSpPr>
        <p:spPr>
          <a:xfrm rot="5400000">
            <a:off x="3428130" y="3520564"/>
            <a:ext cx="4405742" cy="800554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r>
              <a:rPr lang="en-US" sz="5400" kern="0" dirty="0" smtClean="0">
                <a:solidFill>
                  <a:schemeClr val="bg1"/>
                </a:solidFill>
              </a:rPr>
              <a:t>SEGMENTS</a:t>
            </a:r>
            <a:endParaRPr lang="en-US" sz="5400" kern="0" dirty="0">
              <a:solidFill>
                <a:schemeClr val="bg1"/>
              </a:solidFill>
            </a:endParaRPr>
          </a:p>
        </p:txBody>
      </p:sp>
      <p:sp>
        <p:nvSpPr>
          <p:cNvPr id="11" name="Rectangle: Rounded Corners 1">
            <a:extLst>
              <a:ext uri="{FF2B5EF4-FFF2-40B4-BE49-F238E27FC236}">
                <a16:creationId xmlns:a16="http://schemas.microsoft.com/office/drawing/2014/main" xmlns="" id="{697193E9-089F-1048-ACED-23DB2A1C272F}"/>
              </a:ext>
            </a:extLst>
          </p:cNvPr>
          <p:cNvSpPr/>
          <p:nvPr/>
        </p:nvSpPr>
        <p:spPr>
          <a:xfrm>
            <a:off x="385192" y="1579420"/>
            <a:ext cx="4124897" cy="758970"/>
          </a:xfrm>
          <a:prstGeom prst="roundRect">
            <a:avLst>
              <a:gd name="adj" fmla="val 10887"/>
            </a:avLst>
          </a:prstGeom>
          <a:solidFill>
            <a:schemeClr val="bg1"/>
          </a:solidFill>
          <a:ln w="12700" cap="flat">
            <a:noFill/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softEdge rad="12700"/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hangingPunct="0"/>
            <a:endParaRPr lang="en-IN" sz="16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12" name="Rectangle: Rounded Corners 1">
            <a:extLst>
              <a:ext uri="{FF2B5EF4-FFF2-40B4-BE49-F238E27FC236}">
                <a16:creationId xmlns:a16="http://schemas.microsoft.com/office/drawing/2014/main" xmlns="" id="{697193E9-089F-1048-ACED-23DB2A1C272F}"/>
              </a:ext>
            </a:extLst>
          </p:cNvPr>
          <p:cNvSpPr/>
          <p:nvPr/>
        </p:nvSpPr>
        <p:spPr>
          <a:xfrm>
            <a:off x="385192" y="2868355"/>
            <a:ext cx="4124897" cy="758970"/>
          </a:xfrm>
          <a:prstGeom prst="roundRect">
            <a:avLst>
              <a:gd name="adj" fmla="val 10887"/>
            </a:avLst>
          </a:prstGeom>
          <a:solidFill>
            <a:schemeClr val="bg1"/>
          </a:solidFill>
          <a:ln w="12700" cap="flat">
            <a:noFill/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softEdge rad="12700"/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hangingPunct="0"/>
            <a:endParaRPr lang="en-IN" sz="1600">
              <a:solidFill>
                <a:srgbClr val="000000"/>
              </a:solidFill>
              <a:sym typeface="Calibri"/>
            </a:endParaRPr>
          </a:p>
        </p:txBody>
      </p:sp>
      <p:sp>
        <p:nvSpPr>
          <p:cNvPr id="13" name="Rectangle: Rounded Corners 1">
            <a:extLst>
              <a:ext uri="{FF2B5EF4-FFF2-40B4-BE49-F238E27FC236}">
                <a16:creationId xmlns:a16="http://schemas.microsoft.com/office/drawing/2014/main" xmlns="" id="{697193E9-089F-1048-ACED-23DB2A1C272F}"/>
              </a:ext>
            </a:extLst>
          </p:cNvPr>
          <p:cNvSpPr/>
          <p:nvPr/>
        </p:nvSpPr>
        <p:spPr>
          <a:xfrm>
            <a:off x="385191" y="4157290"/>
            <a:ext cx="4124897" cy="758970"/>
          </a:xfrm>
          <a:prstGeom prst="roundRect">
            <a:avLst>
              <a:gd name="adj" fmla="val 10887"/>
            </a:avLst>
          </a:prstGeom>
          <a:solidFill>
            <a:schemeClr val="bg1"/>
          </a:solidFill>
          <a:ln w="12700" cap="flat">
            <a:noFill/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softEdge rad="12700"/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hangingPunct="0"/>
            <a:endParaRPr lang="en-IN" sz="1600">
              <a:solidFill>
                <a:srgbClr val="000000"/>
              </a:solidFill>
              <a:sym typeface="Calibri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85191" y="1728074"/>
            <a:ext cx="4124897" cy="4616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400" b="0" i="0" u="none" strike="noStrike" cap="none" spc="0" normalizeH="0" baseline="0" dirty="0" err="1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Defence</a:t>
            </a:r>
            <a:r>
              <a:rPr kumimoji="0" lang="en-US" sz="2400" b="0" i="0" u="none" strike="noStrike" cap="none" spc="0" normalizeH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 Cantonments</a:t>
            </a:r>
            <a:endParaRPr kumimoji="0" lang="en-US" sz="2400" b="0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85190" y="4305943"/>
            <a:ext cx="4124897" cy="4616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400" b="0" i="0" u="none" strike="noStrike" cap="none" spc="0" normalizeH="0" baseline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Oil &amp; Gas</a:t>
            </a:r>
            <a:endParaRPr kumimoji="0" lang="en-US" sz="2400" b="0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85190" y="3017008"/>
            <a:ext cx="4124897" cy="4616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400" b="0" i="0" u="none" strike="noStrike" cap="none" spc="0" normalizeH="0" baseline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Ports - Airport</a:t>
            </a:r>
            <a:r>
              <a:rPr kumimoji="0" lang="en-US" sz="2400" b="0" i="0" u="none" strike="noStrike" cap="none" spc="0" normalizeH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 </a:t>
            </a:r>
            <a:endParaRPr kumimoji="0" lang="en-US" sz="2400" b="0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7" name="Rectangle: Rounded Corners 1">
            <a:extLst>
              <a:ext uri="{FF2B5EF4-FFF2-40B4-BE49-F238E27FC236}">
                <a16:creationId xmlns:a16="http://schemas.microsoft.com/office/drawing/2014/main" xmlns="" id="{697193E9-089F-1048-ACED-23DB2A1C272F}"/>
              </a:ext>
            </a:extLst>
          </p:cNvPr>
          <p:cNvSpPr/>
          <p:nvPr/>
        </p:nvSpPr>
        <p:spPr>
          <a:xfrm>
            <a:off x="385190" y="5443299"/>
            <a:ext cx="4124897" cy="758970"/>
          </a:xfrm>
          <a:prstGeom prst="roundRect">
            <a:avLst>
              <a:gd name="adj" fmla="val 10887"/>
            </a:avLst>
          </a:prstGeom>
          <a:solidFill>
            <a:schemeClr val="bg1"/>
          </a:solidFill>
          <a:ln w="12700" cap="flat">
            <a:noFill/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softEdge rad="12700"/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hangingPunct="0"/>
            <a:endParaRPr lang="en-IN" sz="1600">
              <a:solidFill>
                <a:srgbClr val="000000"/>
              </a:solidFill>
              <a:sym typeface="Calibri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85188" y="5591952"/>
            <a:ext cx="4124897" cy="4616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400" b="0" i="0" u="none" strike="noStrike" cap="none" spc="0" normalizeH="0" baseline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Nuclear Power</a:t>
            </a:r>
            <a:r>
              <a:rPr kumimoji="0" lang="en-US" sz="2400" b="0" i="0" u="none" strike="noStrike" cap="none" spc="0" normalizeH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 Plants</a:t>
            </a:r>
            <a:endParaRPr kumimoji="0" lang="en-US" sz="2400" b="0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1544330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© 2019-2020 </a:t>
            </a:r>
            <a:r>
              <a:rPr lang="en-IN" smtClean="0"/>
              <a:t>Sterlite Technologies Limited</a:t>
            </a:r>
            <a:endParaRPr lang="en-US" dirty="0"/>
          </a:p>
        </p:txBody>
      </p:sp>
      <p:pic>
        <p:nvPicPr>
          <p:cNvPr id="23" name="Picture Placeholder 22"/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93" r="26893"/>
          <a:stretch>
            <a:fillRect/>
          </a:stretch>
        </p:blipFill>
        <p:spPr/>
      </p:pic>
      <p:sp>
        <p:nvSpPr>
          <p:cNvPr id="17" name="Slide Number Placeholder 3"/>
          <p:cNvSpPr>
            <a:spLocks noGrp="1"/>
          </p:cNvSpPr>
          <p:nvPr>
            <p:ph type="sldNum" sz="quarter" idx="2"/>
          </p:nvPr>
        </p:nvSpPr>
        <p:spPr>
          <a:xfrm>
            <a:off x="11924168" y="6896541"/>
            <a:ext cx="245751" cy="225709"/>
          </a:xfrm>
        </p:spPr>
        <p:txBody>
          <a:bodyPr/>
          <a:lstStyle/>
          <a:p>
            <a:fld id="{86CB4B4D-7CA3-9044-876B-883B54F8677D}" type="slidenum">
              <a:rPr lang="en-IN" smtClean="0"/>
              <a:t>8</a:t>
            </a:fld>
            <a:endParaRPr lang="en-IN"/>
          </a:p>
        </p:txBody>
      </p:sp>
      <p:sp>
        <p:nvSpPr>
          <p:cNvPr id="18" name="Title 5"/>
          <p:cNvSpPr txBox="1">
            <a:spLocks/>
          </p:cNvSpPr>
          <p:nvPr/>
        </p:nvSpPr>
        <p:spPr>
          <a:xfrm>
            <a:off x="4056133" y="950017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R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2pPr>
            <a:lvl3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3pPr>
            <a:lvl4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4pPr>
            <a:lvl5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5pPr>
            <a:lvl6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6pPr>
            <a:lvl7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7pPr>
            <a:lvl8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8pPr>
            <a:lvl9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9pPr>
          </a:lstStyle>
          <a:p>
            <a:r>
              <a:rPr lang="en-IN" dirty="0"/>
              <a:t>About Us</a:t>
            </a:r>
          </a:p>
        </p:txBody>
      </p:sp>
      <p:sp>
        <p:nvSpPr>
          <p:cNvPr id="19" name="Title 5"/>
          <p:cNvSpPr txBox="1">
            <a:spLocks/>
          </p:cNvSpPr>
          <p:nvPr/>
        </p:nvSpPr>
        <p:spPr>
          <a:xfrm>
            <a:off x="4833430" y="4269410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STL has the KEY</a:t>
            </a:r>
            <a:endParaRPr lang="en-IN" kern="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0" name="Title 5"/>
          <p:cNvSpPr txBox="1">
            <a:spLocks/>
          </p:cNvSpPr>
          <p:nvPr/>
        </p:nvSpPr>
        <p:spPr>
          <a:xfrm>
            <a:off x="5262920" y="3788917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endParaRPr lang="en-IN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1" name="Title 5"/>
          <p:cNvSpPr txBox="1">
            <a:spLocks/>
          </p:cNvSpPr>
          <p:nvPr/>
        </p:nvSpPr>
        <p:spPr>
          <a:xfrm>
            <a:off x="5262920" y="3923116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endParaRPr lang="en-IN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2" name="Title 5"/>
          <p:cNvSpPr txBox="1">
            <a:spLocks/>
          </p:cNvSpPr>
          <p:nvPr/>
        </p:nvSpPr>
        <p:spPr>
          <a:xfrm>
            <a:off x="4638023" y="4760365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endParaRPr lang="en-IN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4" name="Title 5"/>
          <p:cNvSpPr txBox="1">
            <a:spLocks/>
          </p:cNvSpPr>
          <p:nvPr/>
        </p:nvSpPr>
        <p:spPr>
          <a:xfrm>
            <a:off x="5415320" y="2507062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R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kern="0" cap="none" spc="0" baseline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2pPr>
            <a:lvl3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3pPr>
            <a:lvl4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4pPr>
            <a:lvl5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5pPr>
            <a:lvl6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6pPr>
            <a:lvl7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7pPr>
            <a:lvl8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8pPr>
            <a:lvl9pPr marL="0" marR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</a:defRPr>
            </a:lvl9pPr>
          </a:lstStyle>
          <a:p>
            <a:r>
              <a:rPr lang="en-IN" dirty="0"/>
              <a:t>Network Concerns &amp; Solution</a:t>
            </a:r>
          </a:p>
        </p:txBody>
      </p:sp>
      <p:sp>
        <p:nvSpPr>
          <p:cNvPr id="25" name="Title 5"/>
          <p:cNvSpPr txBox="1">
            <a:spLocks/>
          </p:cNvSpPr>
          <p:nvPr/>
        </p:nvSpPr>
        <p:spPr>
          <a:xfrm>
            <a:off x="5415320" y="3415581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r>
              <a:rPr lang="en-IN" kern="0" dirty="0" smtClean="0">
                <a:solidFill>
                  <a:schemeClr val="bg1">
                    <a:lumMod val="85000"/>
                  </a:schemeClr>
                </a:solidFill>
              </a:rPr>
              <a:t>Border Concerns &amp; Solution</a:t>
            </a:r>
            <a:endParaRPr lang="en-IN" kern="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6" name="Title 5"/>
          <p:cNvSpPr txBox="1">
            <a:spLocks/>
          </p:cNvSpPr>
          <p:nvPr/>
        </p:nvSpPr>
        <p:spPr>
          <a:xfrm>
            <a:off x="4056133" y="5013784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r>
              <a:rPr lang="en-IN" kern="0" dirty="0" smtClean="0">
                <a:solidFill>
                  <a:schemeClr val="bg1">
                    <a:lumMod val="85000"/>
                  </a:schemeClr>
                </a:solidFill>
              </a:rPr>
              <a:t>Partner Ecosystem</a:t>
            </a:r>
            <a:endParaRPr lang="en-IN" kern="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7" name="Title 5"/>
          <p:cNvSpPr txBox="1">
            <a:spLocks/>
          </p:cNvSpPr>
          <p:nvPr/>
        </p:nvSpPr>
        <p:spPr>
          <a:xfrm>
            <a:off x="4833430" y="1721612"/>
            <a:ext cx="6929080" cy="7881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r>
              <a:rPr lang="en-US" dirty="0" smtClean="0">
                <a:solidFill>
                  <a:schemeClr val="bg1">
                    <a:lumMod val="85000"/>
                  </a:schemeClr>
                </a:solidFill>
              </a:rPr>
              <a:t>Customer Base</a:t>
            </a:r>
            <a:endParaRPr lang="en-IN" kern="0" dirty="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362479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463639" y="2578808"/>
            <a:ext cx="4169206" cy="4026780"/>
            <a:chOff x="453661" y="1813865"/>
            <a:chExt cx="4743710" cy="5135602"/>
          </a:xfrm>
        </p:grpSpPr>
        <p:pic>
          <p:nvPicPr>
            <p:cNvPr id="13" name="Picture 4" descr="Related image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345872">
              <a:off x="554016" y="5204437"/>
              <a:ext cx="2418426" cy="1612284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6" descr="F:\Working Directory\Pooja Ghosh\Official\AS\AAI\d98b2aee62df41e1b8e3e4ad06b0de08.0.jp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1232452">
              <a:off x="453661" y="3247562"/>
              <a:ext cx="2619137" cy="17046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2" descr="F:\Working Directory\Pooja Ghosh\Official\AS\AAI\b3566b6033244ba983b1e28adefff61a.0.jpg"/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68"/>
            <a:stretch/>
          </p:blipFill>
          <p:spPr bwMode="auto">
            <a:xfrm rot="20963024">
              <a:off x="2902530" y="5308296"/>
              <a:ext cx="2165097" cy="16411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2" descr="Related image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21061" y="3366440"/>
              <a:ext cx="2003155" cy="11132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5" descr="F:\Working Directory\Pooja Ghosh\Official\AS\AAI\116752d0eedb452a9c553e2ed43be50b.0.jpg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345" t="12656"/>
            <a:stretch/>
          </p:blipFill>
          <p:spPr bwMode="auto">
            <a:xfrm rot="861248">
              <a:off x="2800694" y="1882647"/>
              <a:ext cx="2109244" cy="13338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8" descr="Related image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429526">
              <a:off x="466336" y="1813865"/>
              <a:ext cx="2268498" cy="1672102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TextBox 18"/>
            <p:cNvSpPr txBox="1"/>
            <p:nvPr/>
          </p:nvSpPr>
          <p:spPr>
            <a:xfrm>
              <a:off x="571362" y="2513035"/>
              <a:ext cx="2376310" cy="33855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Times New Roman" panose="02020603050405020304" pitchFamily="18" charset="0"/>
                  <a:cs typeface="Times New Roman" panose="02020603050405020304" pitchFamily="18" charset="0"/>
                  <a:sym typeface="Calibri"/>
                </a:rPr>
                <a:t>2019 Pulwama Attack</a:t>
              </a:r>
              <a:endParaRPr kumimoji="0" lang="en-US" sz="16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Calibri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479223" y="6094204"/>
              <a:ext cx="2376310" cy="33855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Times New Roman" panose="02020603050405020304" pitchFamily="18" charset="0"/>
                  <a:cs typeface="Times New Roman" panose="02020603050405020304" pitchFamily="18" charset="0"/>
                  <a:sym typeface="Calibri"/>
                </a:rPr>
                <a:t>2016 URI Attack</a:t>
              </a:r>
              <a:endParaRPr kumimoji="0" lang="en-US" sz="16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Calibri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2821061" y="3766031"/>
              <a:ext cx="2376310" cy="33855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Times New Roman" panose="02020603050405020304" pitchFamily="18" charset="0"/>
                  <a:cs typeface="Times New Roman" panose="02020603050405020304" pitchFamily="18" charset="0"/>
                  <a:sym typeface="Calibri"/>
                </a:rPr>
                <a:t>2016 </a:t>
              </a:r>
              <a:r>
                <a:rPr kumimoji="0" lang="en-US" sz="1600" b="1" i="0" u="none" strike="noStrike" cap="none" spc="0" normalizeH="0" baseline="0" dirty="0" err="1" smtClean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Times New Roman" panose="02020603050405020304" pitchFamily="18" charset="0"/>
                  <a:cs typeface="Times New Roman" panose="02020603050405020304" pitchFamily="18" charset="0"/>
                  <a:sym typeface="Calibri"/>
                </a:rPr>
                <a:t>Pathankot</a:t>
              </a:r>
              <a:r>
                <a:rPr kumimoji="0" lang="en-US" sz="1600" b="1" i="0" u="none" strike="noStrike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Times New Roman" panose="02020603050405020304" pitchFamily="18" charset="0"/>
                  <a:cs typeface="Times New Roman" panose="02020603050405020304" pitchFamily="18" charset="0"/>
                  <a:sym typeface="Calibri"/>
                </a:rPr>
                <a:t> Attack</a:t>
              </a:r>
              <a:endParaRPr kumimoji="0" lang="en-US" sz="16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Calibri"/>
              </a:endParaRPr>
            </a:p>
          </p:txBody>
        </p:sp>
        <p:pic>
          <p:nvPicPr>
            <p:cNvPr id="22" name="Picture 2" descr="Image result for 2018 Sunjuwan attack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76466">
              <a:off x="2435487" y="4469639"/>
              <a:ext cx="1852263" cy="1234841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Rectangle 22"/>
            <p:cNvSpPr/>
            <p:nvPr/>
          </p:nvSpPr>
          <p:spPr>
            <a:xfrm>
              <a:off x="2567141" y="4777402"/>
              <a:ext cx="2478787" cy="74579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r>
                <a:rPr lang="en-US" sz="1600" b="1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018 </a:t>
              </a:r>
              <a:r>
                <a:rPr lang="en-US" sz="1600" b="1" dirty="0" smtClean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unjuwan</a:t>
              </a:r>
              <a:r>
                <a:rPr lang="en-US" sz="1600" b="1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endParaRPr lang="en-US" sz="16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r>
                <a:rPr lang="en-US" sz="1600" b="1" dirty="0" smtClean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Attack</a:t>
              </a:r>
              <a:endParaRPr lang="en-US" sz="16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cern Areas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t>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© 2019-2020 </a:t>
            </a:r>
            <a:r>
              <a:rPr lang="en-IN" smtClean="0"/>
              <a:t>Sterlite Technologies Limited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463639" y="1246905"/>
            <a:ext cx="4371597" cy="70788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4000" b="0" i="0" u="none" strike="noStrike" cap="none" spc="0" normalizeH="0" baseline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Security</a:t>
            </a:r>
            <a:r>
              <a:rPr kumimoji="0" lang="en-US" sz="4000" b="0" i="0" u="none" strike="noStrike" cap="none" spc="0" normalizeH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 Breaches</a:t>
            </a:r>
            <a:endParaRPr kumimoji="0" lang="en-US" sz="4000" b="0" i="0" u="none" strike="noStrike" cap="none" spc="0" normalizeH="0" baseline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649437" y="1707830"/>
            <a:ext cx="1669966" cy="92332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5400" dirty="0" smtClean="0">
                <a:solidFill>
                  <a:srgbClr val="1B48C4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India</a:t>
            </a:r>
            <a:endParaRPr kumimoji="0" lang="en-US" sz="5400" b="0" i="0" u="none" strike="noStrike" cap="none" spc="0" normalizeH="0" baseline="0" dirty="0">
              <a:ln>
                <a:noFill/>
              </a:ln>
              <a:solidFill>
                <a:srgbClr val="1B48C4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10" name="Rectangle: Rounded Corners 1">
            <a:extLst>
              <a:ext uri="{FF2B5EF4-FFF2-40B4-BE49-F238E27FC236}">
                <a16:creationId xmlns:a16="http://schemas.microsoft.com/office/drawing/2014/main" xmlns="" id="{697193E9-089F-1048-ACED-23DB2A1C272F}"/>
              </a:ext>
            </a:extLst>
          </p:cNvPr>
          <p:cNvSpPr/>
          <p:nvPr/>
        </p:nvSpPr>
        <p:spPr>
          <a:xfrm>
            <a:off x="4835236" y="1474708"/>
            <a:ext cx="6575166" cy="4598652"/>
          </a:xfrm>
          <a:prstGeom prst="roundRect">
            <a:avLst>
              <a:gd name="adj" fmla="val 10887"/>
            </a:avLst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>
            <a:outerShdw blurRad="190500" sx="102000" sy="102000" algn="ctr" rotWithShape="0">
              <a:prstClr val="black">
                <a:alpha val="5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IN" sz="1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037627" y="1874347"/>
            <a:ext cx="6170384" cy="378565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285750" marR="0" indent="-28575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</a:pPr>
            <a:r>
              <a:rPr lang="en-IN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he</a:t>
            </a:r>
            <a:r>
              <a:rPr lang="en-IN" sz="20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desired level of security </a:t>
            </a:r>
            <a:r>
              <a:rPr lang="en-IN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is missing in Defence &amp; Military </a:t>
            </a:r>
          </a:p>
          <a:p>
            <a:pPr marL="285750" marR="0" indent="-28575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</a:pPr>
            <a:endParaRPr kumimoji="0" lang="en-IN" sz="2000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FillTx/>
              <a:sym typeface="Calibri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IN" sz="20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housands of lives are getting sacrificed </a:t>
            </a:r>
            <a:r>
              <a:rPr lang="en-IN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due to lack of proper security</a:t>
            </a:r>
          </a:p>
          <a:p>
            <a:pPr marL="285750" indent="-285750">
              <a:buFont typeface="Arial" pitchFamily="34" charset="0"/>
              <a:buChar char="•"/>
            </a:pPr>
            <a:endParaRPr lang="en-IN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IN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From last 13 years Indian Army has been loosing its on duty soldier on every third day.</a:t>
            </a:r>
          </a:p>
          <a:p>
            <a:endParaRPr lang="en-IN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I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ath of Jawans in terror attacks rose by 106</a:t>
            </a:r>
            <a:r>
              <a:rPr lang="en-IN" sz="20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% </a:t>
            </a:r>
            <a:r>
              <a:rPr lang="en-IN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in </a:t>
            </a:r>
            <a:r>
              <a:rPr lang="en-IN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just J&amp;K </a:t>
            </a:r>
            <a:r>
              <a:rPr lang="en-IN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in 2018.</a:t>
            </a:r>
            <a:endParaRPr lang="en-IN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marR="0" indent="-28575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</a:pPr>
            <a:endParaRPr kumimoji="0" lang="en-IN" sz="2000" i="0" u="none" strike="noStrike" cap="none" spc="0" normalizeH="0" baseline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FillTx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5356193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hOPk5LQBK55gPyYWXd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1_Whit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STL_template_new" id="{B63B2276-EC30-1F43-9C76-09EB8FBB2A52}" vid="{7CAE3B39-EFA4-B24F-A453-4650E745A60D}"/>
    </a:ext>
  </a:extLst>
</a:theme>
</file>

<file path=ppt/theme/theme2.xml><?xml version="1.0" encoding="utf-8"?>
<a:theme xmlns:a="http://schemas.openxmlformats.org/drawingml/2006/main" name="Theme1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16DD68DC-16A5-43C8-B667-0CF65C0526D2}" vid="{44B5F4E2-2E9E-4FDC-B9E6-43078D118CB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3859</TotalTime>
  <Words>1166</Words>
  <Application>Microsoft Macintosh PowerPoint</Application>
  <PresentationFormat>Widescreen</PresentationFormat>
  <Paragraphs>379</Paragraphs>
  <Slides>27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7" baseType="lpstr">
      <vt:lpstr>Arial</vt:lpstr>
      <vt:lpstr>Calibri</vt:lpstr>
      <vt:lpstr>Calibri Light</vt:lpstr>
      <vt:lpstr>Gotham Extra Light</vt:lpstr>
      <vt:lpstr>Helvetica Neue Medium</vt:lpstr>
      <vt:lpstr>Times New Roman</vt:lpstr>
      <vt:lpstr>宋体</vt:lpstr>
      <vt:lpstr>1_White Theme</vt:lpstr>
      <vt:lpstr>Theme1</vt:lpstr>
      <vt:lpstr>think-cell Slide</vt:lpstr>
      <vt:lpstr>Sensron+ </vt:lpstr>
      <vt:lpstr>About Us</vt:lpstr>
      <vt:lpstr>We are STL, a unique silicon to software company, unparalleled in the world</vt:lpstr>
      <vt:lpstr>We have the experience and  the expertise</vt:lpstr>
      <vt:lpstr>PowerPoint Presentation</vt:lpstr>
      <vt:lpstr>Customer Base</vt:lpstr>
      <vt:lpstr>Customer Base</vt:lpstr>
      <vt:lpstr>PowerPoint Presentation</vt:lpstr>
      <vt:lpstr>Concern Areas</vt:lpstr>
      <vt:lpstr>Concern Areas</vt:lpstr>
      <vt:lpstr>STL One Stop Solution</vt:lpstr>
      <vt:lpstr>PowerPoint Presentation</vt:lpstr>
      <vt:lpstr>Border Security Concerns</vt:lpstr>
      <vt:lpstr>Border Security Concerns</vt:lpstr>
      <vt:lpstr>Border Security Concerns</vt:lpstr>
      <vt:lpstr>PowerPoint Presentation</vt:lpstr>
      <vt:lpstr>PowerPoint Presentation</vt:lpstr>
      <vt:lpstr>PowerPoint Presentation</vt:lpstr>
      <vt:lpstr>PowerPoint Presentation</vt:lpstr>
      <vt:lpstr>Uniqueness of Solution</vt:lpstr>
      <vt:lpstr>PowerPoint Presentation</vt:lpstr>
      <vt:lpstr>Uniqueness of Solution</vt:lpstr>
      <vt:lpstr>PowerPoint Presentation</vt:lpstr>
      <vt:lpstr>STL’s KEY:</vt:lpstr>
      <vt:lpstr>PowerPoint Presentation</vt:lpstr>
      <vt:lpstr>PowerPoint Presentation</vt:lpstr>
      <vt:lpstr>Technology Partner Ecosystem</vt:lpstr>
    </vt:vector>
  </TitlesOfParts>
  <LinksUpToDate>false</LinksUpToDate>
  <SharedDoc>false</SharedDoc>
  <HyperlinksChanged>false</HyperlinksChanged>
  <AppVersion>15.0025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DKol3</dc:creator>
  <cp:lastModifiedBy>Microsoft Office User</cp:lastModifiedBy>
  <cp:revision>2028</cp:revision>
  <cp:lastPrinted>2017-05-12T10:02:37Z</cp:lastPrinted>
  <dcterms:created xsi:type="dcterms:W3CDTF">2017-04-08T06:04:47Z</dcterms:created>
  <dcterms:modified xsi:type="dcterms:W3CDTF">2019-10-28T15:21:27Z</dcterms:modified>
</cp:coreProperties>
</file>